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8.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9.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0.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701" r:id="rId3"/>
    <p:sldMasterId id="2147483734" r:id="rId4"/>
    <p:sldMasterId id="2147483764" r:id="rId5"/>
    <p:sldMasterId id="2147483794" r:id="rId6"/>
    <p:sldMasterId id="2147483824" r:id="rId7"/>
    <p:sldMasterId id="2147483856" r:id="rId8"/>
    <p:sldMasterId id="2147483894" r:id="rId9"/>
    <p:sldMasterId id="2147483932" r:id="rId10"/>
    <p:sldMasterId id="2147483970" r:id="rId11"/>
  </p:sldMasterIdLst>
  <p:notesMasterIdLst>
    <p:notesMasterId r:id="rId51"/>
  </p:notesMasterIdLst>
  <p:sldIdLst>
    <p:sldId id="256" r:id="rId12"/>
    <p:sldId id="298" r:id="rId13"/>
    <p:sldId id="261" r:id="rId14"/>
    <p:sldId id="259" r:id="rId15"/>
    <p:sldId id="260" r:id="rId16"/>
    <p:sldId id="257" r:id="rId17"/>
    <p:sldId id="262" r:id="rId18"/>
    <p:sldId id="258" r:id="rId19"/>
    <p:sldId id="263" r:id="rId20"/>
    <p:sldId id="264" r:id="rId21"/>
    <p:sldId id="268" r:id="rId22"/>
    <p:sldId id="269" r:id="rId23"/>
    <p:sldId id="270" r:id="rId24"/>
    <p:sldId id="271" r:id="rId25"/>
    <p:sldId id="272" r:id="rId26"/>
    <p:sldId id="273" r:id="rId27"/>
    <p:sldId id="274" r:id="rId28"/>
    <p:sldId id="275" r:id="rId29"/>
    <p:sldId id="276" r:id="rId30"/>
    <p:sldId id="265" r:id="rId31"/>
    <p:sldId id="267" r:id="rId32"/>
    <p:sldId id="277" r:id="rId33"/>
    <p:sldId id="266" r:id="rId34"/>
    <p:sldId id="278" r:id="rId35"/>
    <p:sldId id="279" r:id="rId36"/>
    <p:sldId id="281" r:id="rId37"/>
    <p:sldId id="282" r:id="rId38"/>
    <p:sldId id="283" r:id="rId39"/>
    <p:sldId id="285" r:id="rId40"/>
    <p:sldId id="286" r:id="rId41"/>
    <p:sldId id="288" r:id="rId42"/>
    <p:sldId id="289" r:id="rId43"/>
    <p:sldId id="290" r:id="rId44"/>
    <p:sldId id="292" r:id="rId45"/>
    <p:sldId id="293" r:id="rId46"/>
    <p:sldId id="294" r:id="rId47"/>
    <p:sldId id="295" r:id="rId48"/>
    <p:sldId id="296" r:id="rId49"/>
    <p:sldId id="297" r:id="rId5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ACD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2" autoAdjust="0"/>
    <p:restoredTop sz="94660"/>
  </p:normalViewPr>
  <p:slideViewPr>
    <p:cSldViewPr snapToGrid="0">
      <p:cViewPr varScale="1">
        <p:scale>
          <a:sx n="105" d="100"/>
          <a:sy n="105" d="100"/>
        </p:scale>
        <p:origin x="120"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JPG"/><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diagrams/_rels/data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JPG"/><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diagrams/_rels/data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JPG"/><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diagrams/_rels/data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JPG"/><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BA92BE-C19C-4D5D-83C1-1A8E169AEB4D}"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81A8D18-3DAF-43BE-8A68-5832197852D5}">
      <dgm:prSet phldrT="[Text]"/>
      <dgm:spPr>
        <a:solidFill>
          <a:schemeClr val="accent3"/>
        </a:solidFill>
      </dgm:spPr>
      <dgm:t>
        <a:bodyPr/>
        <a:lstStyle/>
        <a:p>
          <a:r>
            <a:rPr lang="en-US" dirty="0" smtClean="0"/>
            <a:t>Data</a:t>
          </a:r>
        </a:p>
      </dgm:t>
    </dgm:pt>
    <dgm:pt modelId="{366D1E1A-B08E-436F-89B1-124A51B145A4}" type="parTrans" cxnId="{2371ABD2-4C61-47CF-B0B4-5FFFB43A762D}">
      <dgm:prSet/>
      <dgm:spPr/>
      <dgm:t>
        <a:bodyPr/>
        <a:lstStyle/>
        <a:p>
          <a:endParaRPr lang="en-US"/>
        </a:p>
      </dgm:t>
    </dgm:pt>
    <dgm:pt modelId="{2FF3A3DF-D720-492E-81E6-5F3431E1AB07}" type="sibTrans" cxnId="{2371ABD2-4C61-47CF-B0B4-5FFFB43A762D}">
      <dgm:prSet/>
      <dgm:spPr/>
      <dgm:t>
        <a:bodyPr/>
        <a:lstStyle/>
        <a:p>
          <a:endParaRPr lang="en-US"/>
        </a:p>
      </dgm:t>
    </dgm:pt>
    <dgm:pt modelId="{8E3F2692-23A7-4A81-A126-43EB3A915F34}">
      <dgm:prSet phldrT="[Text]"/>
      <dgm:spPr>
        <a:solidFill>
          <a:schemeClr val="accent3"/>
        </a:solidFill>
      </dgm:spPr>
      <dgm:t>
        <a:bodyPr/>
        <a:lstStyle/>
        <a:p>
          <a:r>
            <a:rPr lang="en-US" dirty="0" smtClean="0"/>
            <a:t>Application</a:t>
          </a:r>
          <a:endParaRPr lang="en-US" dirty="0"/>
        </a:p>
      </dgm:t>
    </dgm:pt>
    <dgm:pt modelId="{5D88043A-81F1-4A3B-9389-994FDC094794}" type="parTrans" cxnId="{0F9027D9-0E61-448F-AF2F-59EF4EBEE20C}">
      <dgm:prSet/>
      <dgm:spPr/>
      <dgm:t>
        <a:bodyPr/>
        <a:lstStyle/>
        <a:p>
          <a:endParaRPr lang="en-US"/>
        </a:p>
      </dgm:t>
    </dgm:pt>
    <dgm:pt modelId="{8DD6C965-FF4F-4943-9C91-96CBA7CF4486}" type="sibTrans" cxnId="{0F9027D9-0E61-448F-AF2F-59EF4EBEE20C}">
      <dgm:prSet/>
      <dgm:spPr/>
      <dgm:t>
        <a:bodyPr/>
        <a:lstStyle/>
        <a:p>
          <a:endParaRPr lang="en-US"/>
        </a:p>
      </dgm:t>
    </dgm:pt>
    <dgm:pt modelId="{4D1B3AE1-5189-47B7-B4ED-3F64B2BE422F}">
      <dgm:prSet phldrT="[Text]"/>
      <dgm:spPr>
        <a:solidFill>
          <a:schemeClr val="accent3"/>
        </a:solidFill>
      </dgm:spPr>
      <dgm:t>
        <a:bodyPr/>
        <a:lstStyle/>
        <a:p>
          <a:r>
            <a:rPr lang="en-US" dirty="0" smtClean="0"/>
            <a:t>Runtime</a:t>
          </a:r>
          <a:endParaRPr lang="en-US" dirty="0"/>
        </a:p>
      </dgm:t>
    </dgm:pt>
    <dgm:pt modelId="{F4FE66E1-40D1-4908-920D-537776CEB0CF}" type="parTrans" cxnId="{133FED2B-9345-4B0B-A59E-2C948F16BDA8}">
      <dgm:prSet/>
      <dgm:spPr/>
      <dgm:t>
        <a:bodyPr/>
        <a:lstStyle/>
        <a:p>
          <a:endParaRPr lang="en-US"/>
        </a:p>
      </dgm:t>
    </dgm:pt>
    <dgm:pt modelId="{03843359-02F4-4F7A-BEF6-DEDD33518297}" type="sibTrans" cxnId="{133FED2B-9345-4B0B-A59E-2C948F16BDA8}">
      <dgm:prSet/>
      <dgm:spPr/>
      <dgm:t>
        <a:bodyPr/>
        <a:lstStyle/>
        <a:p>
          <a:endParaRPr lang="en-US"/>
        </a:p>
      </dgm:t>
    </dgm:pt>
    <dgm:pt modelId="{236A9AD3-09EE-412D-988C-CE8AC6041363}">
      <dgm:prSet phldrT="[Text]"/>
      <dgm:spPr>
        <a:solidFill>
          <a:schemeClr val="accent3"/>
        </a:solidFill>
      </dgm:spPr>
      <dgm:t>
        <a:bodyPr/>
        <a:lstStyle/>
        <a:p>
          <a:r>
            <a:rPr lang="en-US" dirty="0" smtClean="0"/>
            <a:t>Middleware</a:t>
          </a:r>
          <a:endParaRPr lang="en-US" dirty="0"/>
        </a:p>
      </dgm:t>
    </dgm:pt>
    <dgm:pt modelId="{A3EFBBA8-473C-47F3-A17F-764883A41A37}" type="parTrans" cxnId="{DD56E4C3-5E44-414B-8FEC-0DBA27627032}">
      <dgm:prSet/>
      <dgm:spPr/>
      <dgm:t>
        <a:bodyPr/>
        <a:lstStyle/>
        <a:p>
          <a:endParaRPr lang="en-US"/>
        </a:p>
      </dgm:t>
    </dgm:pt>
    <dgm:pt modelId="{AC953FA7-1916-43A5-A991-C06D0224CC47}" type="sibTrans" cxnId="{DD56E4C3-5E44-414B-8FEC-0DBA27627032}">
      <dgm:prSet/>
      <dgm:spPr/>
      <dgm:t>
        <a:bodyPr/>
        <a:lstStyle/>
        <a:p>
          <a:endParaRPr lang="en-US"/>
        </a:p>
      </dgm:t>
    </dgm:pt>
    <dgm:pt modelId="{8D348E51-35E1-4A29-9C21-677152E8C41A}">
      <dgm:prSet phldrT="[Text]"/>
      <dgm:spPr>
        <a:solidFill>
          <a:schemeClr val="accent3"/>
        </a:solidFill>
      </dgm:spPr>
      <dgm:t>
        <a:bodyPr/>
        <a:lstStyle/>
        <a:p>
          <a:r>
            <a:rPr lang="en-US" dirty="0" smtClean="0"/>
            <a:t>O/S</a:t>
          </a:r>
          <a:endParaRPr lang="en-US" dirty="0"/>
        </a:p>
      </dgm:t>
    </dgm:pt>
    <dgm:pt modelId="{BBA80BB7-3340-4062-BBF1-D300AE49BA2B}" type="parTrans" cxnId="{C7467611-040A-4F6D-BF76-BD8D1AAA6F12}">
      <dgm:prSet/>
      <dgm:spPr/>
      <dgm:t>
        <a:bodyPr/>
        <a:lstStyle/>
        <a:p>
          <a:endParaRPr lang="en-US"/>
        </a:p>
      </dgm:t>
    </dgm:pt>
    <dgm:pt modelId="{5FE72B37-879D-4E83-B98F-AD100AECB936}" type="sibTrans" cxnId="{C7467611-040A-4F6D-BF76-BD8D1AAA6F12}">
      <dgm:prSet/>
      <dgm:spPr/>
      <dgm:t>
        <a:bodyPr/>
        <a:lstStyle/>
        <a:p>
          <a:endParaRPr lang="en-US"/>
        </a:p>
      </dgm:t>
    </dgm:pt>
    <dgm:pt modelId="{379D8648-56E6-49EB-AEAB-A465D845C1CD}">
      <dgm:prSet phldrT="[Text]"/>
      <dgm:spPr>
        <a:solidFill>
          <a:schemeClr val="accent3"/>
        </a:solidFill>
      </dgm:spPr>
      <dgm:t>
        <a:bodyPr/>
        <a:lstStyle/>
        <a:p>
          <a:r>
            <a:rPr lang="en-US" dirty="0" smtClean="0"/>
            <a:t>Virtualization</a:t>
          </a:r>
          <a:endParaRPr lang="en-US" dirty="0"/>
        </a:p>
      </dgm:t>
    </dgm:pt>
    <dgm:pt modelId="{12FBF733-B4E3-41B8-A91C-CB3997294B11}" type="parTrans" cxnId="{BF8A918C-EB99-4DFF-884A-8132553EEEDF}">
      <dgm:prSet/>
      <dgm:spPr/>
      <dgm:t>
        <a:bodyPr/>
        <a:lstStyle/>
        <a:p>
          <a:endParaRPr lang="en-US"/>
        </a:p>
      </dgm:t>
    </dgm:pt>
    <dgm:pt modelId="{8B7C66FF-DB30-46D1-8641-D30492BF79D4}" type="sibTrans" cxnId="{BF8A918C-EB99-4DFF-884A-8132553EEEDF}">
      <dgm:prSet/>
      <dgm:spPr/>
      <dgm:t>
        <a:bodyPr/>
        <a:lstStyle/>
        <a:p>
          <a:endParaRPr lang="en-US"/>
        </a:p>
      </dgm:t>
    </dgm:pt>
    <dgm:pt modelId="{D5EC79EC-CD02-4850-8A48-D728E7AC45E9}">
      <dgm:prSet phldrT="[Text]"/>
      <dgm:spPr>
        <a:solidFill>
          <a:schemeClr val="accent3"/>
        </a:solidFill>
      </dgm:spPr>
      <dgm:t>
        <a:bodyPr/>
        <a:lstStyle/>
        <a:p>
          <a:r>
            <a:rPr lang="en-US" dirty="0" smtClean="0"/>
            <a:t>Server</a:t>
          </a:r>
          <a:endParaRPr lang="en-US" dirty="0"/>
        </a:p>
      </dgm:t>
    </dgm:pt>
    <dgm:pt modelId="{C1E5B3EF-6338-458B-A23B-09127CF38BF6}" type="parTrans" cxnId="{70ACCBD7-46C6-4D03-83EF-03B7BE1D8F09}">
      <dgm:prSet/>
      <dgm:spPr/>
      <dgm:t>
        <a:bodyPr/>
        <a:lstStyle/>
        <a:p>
          <a:endParaRPr lang="en-US"/>
        </a:p>
      </dgm:t>
    </dgm:pt>
    <dgm:pt modelId="{1213BEB9-C6EA-46CA-B273-D2949B6FB5FB}" type="sibTrans" cxnId="{70ACCBD7-46C6-4D03-83EF-03B7BE1D8F09}">
      <dgm:prSet/>
      <dgm:spPr/>
      <dgm:t>
        <a:bodyPr/>
        <a:lstStyle/>
        <a:p>
          <a:endParaRPr lang="en-US"/>
        </a:p>
      </dgm:t>
    </dgm:pt>
    <dgm:pt modelId="{59795BEE-DDC0-4445-8973-0FCFA566EFBB}">
      <dgm:prSet phldrT="[Text]"/>
      <dgm:spPr>
        <a:solidFill>
          <a:schemeClr val="accent3"/>
        </a:solidFill>
      </dgm:spPr>
      <dgm:t>
        <a:bodyPr/>
        <a:lstStyle/>
        <a:p>
          <a:r>
            <a:rPr lang="en-US" dirty="0" smtClean="0"/>
            <a:t>Storage</a:t>
          </a:r>
          <a:endParaRPr lang="en-US" dirty="0"/>
        </a:p>
      </dgm:t>
    </dgm:pt>
    <dgm:pt modelId="{FCB64DF0-02B1-4910-8D2A-BCAC48E4B87F}" type="parTrans" cxnId="{E8EFBFED-9634-45C5-AF11-654E518F89C8}">
      <dgm:prSet/>
      <dgm:spPr/>
      <dgm:t>
        <a:bodyPr/>
        <a:lstStyle/>
        <a:p>
          <a:endParaRPr lang="en-US"/>
        </a:p>
      </dgm:t>
    </dgm:pt>
    <dgm:pt modelId="{E18280ED-0F23-4F22-BE08-23A93476C6A9}" type="sibTrans" cxnId="{E8EFBFED-9634-45C5-AF11-654E518F89C8}">
      <dgm:prSet/>
      <dgm:spPr/>
      <dgm:t>
        <a:bodyPr/>
        <a:lstStyle/>
        <a:p>
          <a:endParaRPr lang="en-US"/>
        </a:p>
      </dgm:t>
    </dgm:pt>
    <dgm:pt modelId="{CBB2B37F-907B-41D6-882E-601998B3C09D}">
      <dgm:prSet phldrT="[Text]"/>
      <dgm:spPr>
        <a:solidFill>
          <a:schemeClr val="accent3"/>
        </a:solidFill>
      </dgm:spPr>
      <dgm:t>
        <a:bodyPr/>
        <a:lstStyle/>
        <a:p>
          <a:r>
            <a:rPr lang="en-US" dirty="0" smtClean="0"/>
            <a:t>Networking</a:t>
          </a:r>
          <a:endParaRPr lang="en-US" dirty="0"/>
        </a:p>
      </dgm:t>
    </dgm:pt>
    <dgm:pt modelId="{339FC69F-ECB4-42D4-9ADF-FF328ACD1C95}" type="parTrans" cxnId="{D4B51728-62E4-4595-B050-3271684EE803}">
      <dgm:prSet/>
      <dgm:spPr/>
      <dgm:t>
        <a:bodyPr/>
        <a:lstStyle/>
        <a:p>
          <a:endParaRPr lang="en-US"/>
        </a:p>
      </dgm:t>
    </dgm:pt>
    <dgm:pt modelId="{C392CF23-84A2-4482-A209-41073BAF4998}" type="sibTrans" cxnId="{D4B51728-62E4-4595-B050-3271684EE803}">
      <dgm:prSet/>
      <dgm:spPr/>
      <dgm:t>
        <a:bodyPr/>
        <a:lstStyle/>
        <a:p>
          <a:endParaRPr lang="en-US"/>
        </a:p>
      </dgm:t>
    </dgm:pt>
    <dgm:pt modelId="{9890A743-9F64-434E-8E5F-7CAC5C3CE92D}" type="pres">
      <dgm:prSet presAssocID="{E7BA92BE-C19C-4D5D-83C1-1A8E169AEB4D}" presName="linear" presStyleCnt="0">
        <dgm:presLayoutVars>
          <dgm:dir/>
          <dgm:resizeHandles val="exact"/>
        </dgm:presLayoutVars>
      </dgm:prSet>
      <dgm:spPr/>
      <dgm:t>
        <a:bodyPr/>
        <a:lstStyle/>
        <a:p>
          <a:endParaRPr lang="en-US"/>
        </a:p>
      </dgm:t>
    </dgm:pt>
    <dgm:pt modelId="{13F83F6B-FFBD-4711-9B42-938486C9C82E}" type="pres">
      <dgm:prSet presAssocID="{681A8D18-3DAF-43BE-8A68-5832197852D5}" presName="comp" presStyleCnt="0"/>
      <dgm:spPr/>
    </dgm:pt>
    <dgm:pt modelId="{9C1EF2DA-F65E-4645-B83D-8F14A8FCA67E}" type="pres">
      <dgm:prSet presAssocID="{681A8D18-3DAF-43BE-8A68-5832197852D5}" presName="box" presStyleLbl="node1" presStyleIdx="0" presStyleCnt="9"/>
      <dgm:spPr/>
      <dgm:t>
        <a:bodyPr/>
        <a:lstStyle/>
        <a:p>
          <a:endParaRPr lang="en-US"/>
        </a:p>
      </dgm:t>
    </dgm:pt>
    <dgm:pt modelId="{4156E3C8-9705-4625-B954-1C5500EC1F7E}" type="pres">
      <dgm:prSet presAssocID="{681A8D18-3DAF-43BE-8A68-5832197852D5}" presName="img" presStyleLbl="fgImgPlace1" presStyleIdx="0" presStyleCnt="9"/>
      <dgm:spPr>
        <a:blipFill>
          <a:blip xmlns:r="http://schemas.openxmlformats.org/officeDocument/2006/relationships" r:embed="rId1">
            <a:extLst>
              <a:ext uri="{28A0092B-C50C-407E-A947-70E740481C1C}">
                <a14:useLocalDpi xmlns:a14="http://schemas.microsoft.com/office/drawing/2010/main" val="0"/>
              </a:ext>
            </a:extLst>
          </a:blip>
          <a:srcRect/>
          <a:stretch>
            <a:fillRect l="-40000" r="-40000"/>
          </a:stretch>
        </a:blipFill>
      </dgm:spPr>
    </dgm:pt>
    <dgm:pt modelId="{A35E4587-F488-43E9-8CD1-C8B26E193C7C}" type="pres">
      <dgm:prSet presAssocID="{681A8D18-3DAF-43BE-8A68-5832197852D5}" presName="text" presStyleLbl="node1" presStyleIdx="0" presStyleCnt="9">
        <dgm:presLayoutVars>
          <dgm:bulletEnabled val="1"/>
        </dgm:presLayoutVars>
      </dgm:prSet>
      <dgm:spPr/>
      <dgm:t>
        <a:bodyPr/>
        <a:lstStyle/>
        <a:p>
          <a:endParaRPr lang="en-US"/>
        </a:p>
      </dgm:t>
    </dgm:pt>
    <dgm:pt modelId="{62633356-FF5A-4277-9481-40645EA302E4}" type="pres">
      <dgm:prSet presAssocID="{2FF3A3DF-D720-492E-81E6-5F3431E1AB07}" presName="spacer" presStyleCnt="0"/>
      <dgm:spPr/>
    </dgm:pt>
    <dgm:pt modelId="{5F8B302A-627F-43CE-A59F-90BD795E0065}" type="pres">
      <dgm:prSet presAssocID="{8E3F2692-23A7-4A81-A126-43EB3A915F34}" presName="comp" presStyleCnt="0"/>
      <dgm:spPr/>
    </dgm:pt>
    <dgm:pt modelId="{ADA09EC6-3C6B-4D39-A241-991FD95E38CD}" type="pres">
      <dgm:prSet presAssocID="{8E3F2692-23A7-4A81-A126-43EB3A915F34}" presName="box" presStyleLbl="node1" presStyleIdx="1" presStyleCnt="9"/>
      <dgm:spPr/>
      <dgm:t>
        <a:bodyPr/>
        <a:lstStyle/>
        <a:p>
          <a:endParaRPr lang="en-US"/>
        </a:p>
      </dgm:t>
    </dgm:pt>
    <dgm:pt modelId="{EB05AED6-829D-4EFA-85B6-FD73F51E01B2}" type="pres">
      <dgm:prSet presAssocID="{8E3F2692-23A7-4A81-A126-43EB3A915F34}" presName="img" presStyleLbl="fgImgPlace1"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CE83B511-0EC8-48C9-AE34-D6DEA77229E2}" type="pres">
      <dgm:prSet presAssocID="{8E3F2692-23A7-4A81-A126-43EB3A915F34}" presName="text" presStyleLbl="node1" presStyleIdx="1" presStyleCnt="9">
        <dgm:presLayoutVars>
          <dgm:bulletEnabled val="1"/>
        </dgm:presLayoutVars>
      </dgm:prSet>
      <dgm:spPr/>
      <dgm:t>
        <a:bodyPr/>
        <a:lstStyle/>
        <a:p>
          <a:endParaRPr lang="en-US"/>
        </a:p>
      </dgm:t>
    </dgm:pt>
    <dgm:pt modelId="{8F3E4B39-8EE7-440B-BE0F-A9D2ACD77AD4}" type="pres">
      <dgm:prSet presAssocID="{8DD6C965-FF4F-4943-9C91-96CBA7CF4486}" presName="spacer" presStyleCnt="0"/>
      <dgm:spPr/>
    </dgm:pt>
    <dgm:pt modelId="{238DBC6B-7A33-4B0F-9EEB-5CE92B02E181}" type="pres">
      <dgm:prSet presAssocID="{4D1B3AE1-5189-47B7-B4ED-3F64B2BE422F}" presName="comp" presStyleCnt="0"/>
      <dgm:spPr/>
    </dgm:pt>
    <dgm:pt modelId="{DB45ECA9-392E-4ED2-ADD4-89C963A7B93A}" type="pres">
      <dgm:prSet presAssocID="{4D1B3AE1-5189-47B7-B4ED-3F64B2BE422F}" presName="box" presStyleLbl="node1" presStyleIdx="2" presStyleCnt="9"/>
      <dgm:spPr/>
      <dgm:t>
        <a:bodyPr/>
        <a:lstStyle/>
        <a:p>
          <a:endParaRPr lang="en-US"/>
        </a:p>
      </dgm:t>
    </dgm:pt>
    <dgm:pt modelId="{683FBB26-F1C2-46DC-BCB9-4B5B8948E2DF}" type="pres">
      <dgm:prSet presAssocID="{4D1B3AE1-5189-47B7-B4ED-3F64B2BE422F}" presName="img" presStyleLbl="fgImgPlace1" presStyleIdx="2" presStyleCnt="9"/>
      <dgm:spPr>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dgm:spPr>
    </dgm:pt>
    <dgm:pt modelId="{77C720F0-2FE9-4C17-AD5D-4D89AF57B423}" type="pres">
      <dgm:prSet presAssocID="{4D1B3AE1-5189-47B7-B4ED-3F64B2BE422F}" presName="text" presStyleLbl="node1" presStyleIdx="2" presStyleCnt="9">
        <dgm:presLayoutVars>
          <dgm:bulletEnabled val="1"/>
        </dgm:presLayoutVars>
      </dgm:prSet>
      <dgm:spPr/>
      <dgm:t>
        <a:bodyPr/>
        <a:lstStyle/>
        <a:p>
          <a:endParaRPr lang="en-US"/>
        </a:p>
      </dgm:t>
    </dgm:pt>
    <dgm:pt modelId="{66A2380A-F889-420A-8D71-535AA2498798}" type="pres">
      <dgm:prSet presAssocID="{03843359-02F4-4F7A-BEF6-DEDD33518297}" presName="spacer" presStyleCnt="0"/>
      <dgm:spPr/>
    </dgm:pt>
    <dgm:pt modelId="{4DBF68E2-BE97-4107-8598-B63CF474EE95}" type="pres">
      <dgm:prSet presAssocID="{236A9AD3-09EE-412D-988C-CE8AC6041363}" presName="comp" presStyleCnt="0"/>
      <dgm:spPr/>
    </dgm:pt>
    <dgm:pt modelId="{334A3BA9-C29E-4DCA-86ED-24F4750BCA26}" type="pres">
      <dgm:prSet presAssocID="{236A9AD3-09EE-412D-988C-CE8AC6041363}" presName="box" presStyleLbl="node1" presStyleIdx="3" presStyleCnt="9"/>
      <dgm:spPr/>
      <dgm:t>
        <a:bodyPr/>
        <a:lstStyle/>
        <a:p>
          <a:endParaRPr lang="en-US"/>
        </a:p>
      </dgm:t>
    </dgm:pt>
    <dgm:pt modelId="{87183F32-D3ED-4E22-8AFB-A54DC7F4F918}" type="pres">
      <dgm:prSet presAssocID="{236A9AD3-09EE-412D-988C-CE8AC6041363}" presName="img" presStyleLbl="fgImgPlace1" presStyleIdx="3" presStyleCnt="9"/>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0ED01A96-7F8C-48C7-ADDB-A90991D33977}" type="pres">
      <dgm:prSet presAssocID="{236A9AD3-09EE-412D-988C-CE8AC6041363}" presName="text" presStyleLbl="node1" presStyleIdx="3" presStyleCnt="9">
        <dgm:presLayoutVars>
          <dgm:bulletEnabled val="1"/>
        </dgm:presLayoutVars>
      </dgm:prSet>
      <dgm:spPr/>
      <dgm:t>
        <a:bodyPr/>
        <a:lstStyle/>
        <a:p>
          <a:endParaRPr lang="en-US"/>
        </a:p>
      </dgm:t>
    </dgm:pt>
    <dgm:pt modelId="{E9BC61CB-A81F-4C37-9D93-B897AE00AB10}" type="pres">
      <dgm:prSet presAssocID="{AC953FA7-1916-43A5-A991-C06D0224CC47}" presName="spacer" presStyleCnt="0"/>
      <dgm:spPr/>
    </dgm:pt>
    <dgm:pt modelId="{32C151AA-E71C-468A-AEC1-8DDC2FC6BAC3}" type="pres">
      <dgm:prSet presAssocID="{8D348E51-35E1-4A29-9C21-677152E8C41A}" presName="comp" presStyleCnt="0"/>
      <dgm:spPr/>
    </dgm:pt>
    <dgm:pt modelId="{1181644A-2FB0-4225-A392-0F366DA1D30E}" type="pres">
      <dgm:prSet presAssocID="{8D348E51-35E1-4A29-9C21-677152E8C41A}" presName="box" presStyleLbl="node1" presStyleIdx="4" presStyleCnt="9"/>
      <dgm:spPr/>
      <dgm:t>
        <a:bodyPr/>
        <a:lstStyle/>
        <a:p>
          <a:endParaRPr lang="en-US"/>
        </a:p>
      </dgm:t>
    </dgm:pt>
    <dgm:pt modelId="{C51DEB0E-C843-44BA-A8A6-E32A9060889F}" type="pres">
      <dgm:prSet presAssocID="{8D348E51-35E1-4A29-9C21-677152E8C41A}" presName="img" presStyleLbl="fgImgPlace1" presStyleIdx="4" presStyleCnt="9"/>
      <dgm:spPr>
        <a:blipFill>
          <a:blip xmlns:r="http://schemas.openxmlformats.org/officeDocument/2006/relationships" r:embed="rId5">
            <a:extLst>
              <a:ext uri="{28A0092B-C50C-407E-A947-70E740481C1C}">
                <a14:useLocalDpi xmlns:a14="http://schemas.microsoft.com/office/drawing/2010/main" val="0"/>
              </a:ext>
            </a:extLst>
          </a:blip>
          <a:srcRect/>
          <a:stretch>
            <a:fillRect l="-49000" r="-49000"/>
          </a:stretch>
        </a:blipFill>
      </dgm:spPr>
    </dgm:pt>
    <dgm:pt modelId="{CB10FADE-0E96-4FA5-B6F9-ABA3DE7FA00F}" type="pres">
      <dgm:prSet presAssocID="{8D348E51-35E1-4A29-9C21-677152E8C41A}" presName="text" presStyleLbl="node1" presStyleIdx="4" presStyleCnt="9">
        <dgm:presLayoutVars>
          <dgm:bulletEnabled val="1"/>
        </dgm:presLayoutVars>
      </dgm:prSet>
      <dgm:spPr/>
      <dgm:t>
        <a:bodyPr/>
        <a:lstStyle/>
        <a:p>
          <a:endParaRPr lang="en-US"/>
        </a:p>
      </dgm:t>
    </dgm:pt>
    <dgm:pt modelId="{83AEFCE9-BDAE-4F0B-A7AB-375FD7983339}" type="pres">
      <dgm:prSet presAssocID="{5FE72B37-879D-4E83-B98F-AD100AECB936}" presName="spacer" presStyleCnt="0"/>
      <dgm:spPr/>
    </dgm:pt>
    <dgm:pt modelId="{68A72570-2661-46CE-B9DA-5E31156B8CE0}" type="pres">
      <dgm:prSet presAssocID="{379D8648-56E6-49EB-AEAB-A465D845C1CD}" presName="comp" presStyleCnt="0"/>
      <dgm:spPr/>
    </dgm:pt>
    <dgm:pt modelId="{4AD24150-C32F-4791-985B-001E8DB4C980}" type="pres">
      <dgm:prSet presAssocID="{379D8648-56E6-49EB-AEAB-A465D845C1CD}" presName="box" presStyleLbl="node1" presStyleIdx="5" presStyleCnt="9"/>
      <dgm:spPr/>
      <dgm:t>
        <a:bodyPr/>
        <a:lstStyle/>
        <a:p>
          <a:endParaRPr lang="en-US"/>
        </a:p>
      </dgm:t>
    </dgm:pt>
    <dgm:pt modelId="{7D5E44CA-EE76-451C-BF29-4EF20ABC27FD}" type="pres">
      <dgm:prSet presAssocID="{379D8648-56E6-49EB-AEAB-A465D845C1CD}" presName="img" presStyleLbl="fgImgPlace1" presStyleIdx="5" presStyleCnt="9"/>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3D70E6C2-7721-4172-84C1-CCDD23B55355}" type="pres">
      <dgm:prSet presAssocID="{379D8648-56E6-49EB-AEAB-A465D845C1CD}" presName="text" presStyleLbl="node1" presStyleIdx="5" presStyleCnt="9">
        <dgm:presLayoutVars>
          <dgm:bulletEnabled val="1"/>
        </dgm:presLayoutVars>
      </dgm:prSet>
      <dgm:spPr/>
      <dgm:t>
        <a:bodyPr/>
        <a:lstStyle/>
        <a:p>
          <a:endParaRPr lang="en-US"/>
        </a:p>
      </dgm:t>
    </dgm:pt>
    <dgm:pt modelId="{181CF141-5BFB-4C58-882D-2EA012C42938}" type="pres">
      <dgm:prSet presAssocID="{8B7C66FF-DB30-46D1-8641-D30492BF79D4}" presName="spacer" presStyleCnt="0"/>
      <dgm:spPr/>
    </dgm:pt>
    <dgm:pt modelId="{D0365792-42C6-43F6-80A7-8DADD1F7D492}" type="pres">
      <dgm:prSet presAssocID="{D5EC79EC-CD02-4850-8A48-D728E7AC45E9}" presName="comp" presStyleCnt="0"/>
      <dgm:spPr/>
    </dgm:pt>
    <dgm:pt modelId="{F5FB6E26-A59D-412C-9C04-514B79FE2D72}" type="pres">
      <dgm:prSet presAssocID="{D5EC79EC-CD02-4850-8A48-D728E7AC45E9}" presName="box" presStyleLbl="node1" presStyleIdx="6" presStyleCnt="9"/>
      <dgm:spPr/>
      <dgm:t>
        <a:bodyPr/>
        <a:lstStyle/>
        <a:p>
          <a:endParaRPr lang="en-US"/>
        </a:p>
      </dgm:t>
    </dgm:pt>
    <dgm:pt modelId="{F889DE83-E50E-4034-B6F2-47C426ECB7BC}" type="pres">
      <dgm:prSet presAssocID="{D5EC79EC-CD02-4850-8A48-D728E7AC45E9}" presName="img" presStyleLbl="fgImgPlace1" presStyleIdx="6" presStyleCnt="9"/>
      <dgm:spPr>
        <a:blipFill>
          <a:blip xmlns:r="http://schemas.openxmlformats.org/officeDocument/2006/relationships" r:embed="rId7">
            <a:extLst>
              <a:ext uri="{28A0092B-C50C-407E-A947-70E740481C1C}">
                <a14:useLocalDpi xmlns:a14="http://schemas.microsoft.com/office/drawing/2010/main" val="0"/>
              </a:ext>
            </a:extLst>
          </a:blip>
          <a:srcRect/>
          <a:stretch>
            <a:fillRect t="-36000" b="-36000"/>
          </a:stretch>
        </a:blipFill>
      </dgm:spPr>
    </dgm:pt>
    <dgm:pt modelId="{75F707EA-BEE9-43C9-87EC-C5DB871EFD6E}" type="pres">
      <dgm:prSet presAssocID="{D5EC79EC-CD02-4850-8A48-D728E7AC45E9}" presName="text" presStyleLbl="node1" presStyleIdx="6" presStyleCnt="9">
        <dgm:presLayoutVars>
          <dgm:bulletEnabled val="1"/>
        </dgm:presLayoutVars>
      </dgm:prSet>
      <dgm:spPr/>
      <dgm:t>
        <a:bodyPr/>
        <a:lstStyle/>
        <a:p>
          <a:endParaRPr lang="en-US"/>
        </a:p>
      </dgm:t>
    </dgm:pt>
    <dgm:pt modelId="{2447CE56-3BFA-43F2-A353-4A63A19581BA}" type="pres">
      <dgm:prSet presAssocID="{1213BEB9-C6EA-46CA-B273-D2949B6FB5FB}" presName="spacer" presStyleCnt="0"/>
      <dgm:spPr/>
    </dgm:pt>
    <dgm:pt modelId="{E75A3EBA-8199-4D13-8A29-AB839DEAA636}" type="pres">
      <dgm:prSet presAssocID="{59795BEE-DDC0-4445-8973-0FCFA566EFBB}" presName="comp" presStyleCnt="0"/>
      <dgm:spPr/>
    </dgm:pt>
    <dgm:pt modelId="{6C9F2F60-952D-4F43-8B7C-470275D75919}" type="pres">
      <dgm:prSet presAssocID="{59795BEE-DDC0-4445-8973-0FCFA566EFBB}" presName="box" presStyleLbl="node1" presStyleIdx="7" presStyleCnt="9"/>
      <dgm:spPr/>
      <dgm:t>
        <a:bodyPr/>
        <a:lstStyle/>
        <a:p>
          <a:endParaRPr lang="en-US"/>
        </a:p>
      </dgm:t>
    </dgm:pt>
    <dgm:pt modelId="{63B77D97-B3F4-487D-B69B-A9ABF5EC90F7}" type="pres">
      <dgm:prSet presAssocID="{59795BEE-DDC0-4445-8973-0FCFA566EFBB}" presName="img" presStyleLbl="fgImgPlace1" presStyleIdx="7" presStyleCnt="9"/>
      <dgm:spPr>
        <a:blipFill>
          <a:blip xmlns:r="http://schemas.openxmlformats.org/officeDocument/2006/relationships" r:embed="rId8">
            <a:extLst>
              <a:ext uri="{28A0092B-C50C-407E-A947-70E740481C1C}">
                <a14:useLocalDpi xmlns:a14="http://schemas.microsoft.com/office/drawing/2010/main" val="0"/>
              </a:ext>
            </a:extLst>
          </a:blip>
          <a:srcRect/>
          <a:stretch>
            <a:fillRect l="-10000" r="-10000"/>
          </a:stretch>
        </a:blipFill>
      </dgm:spPr>
    </dgm:pt>
    <dgm:pt modelId="{FC7EAE75-1E81-44D8-A399-2AC98ACE4662}" type="pres">
      <dgm:prSet presAssocID="{59795BEE-DDC0-4445-8973-0FCFA566EFBB}" presName="text" presStyleLbl="node1" presStyleIdx="7" presStyleCnt="9">
        <dgm:presLayoutVars>
          <dgm:bulletEnabled val="1"/>
        </dgm:presLayoutVars>
      </dgm:prSet>
      <dgm:spPr/>
      <dgm:t>
        <a:bodyPr/>
        <a:lstStyle/>
        <a:p>
          <a:endParaRPr lang="en-US"/>
        </a:p>
      </dgm:t>
    </dgm:pt>
    <dgm:pt modelId="{A55931B4-A4CA-44EC-A186-BB5F4A883888}" type="pres">
      <dgm:prSet presAssocID="{E18280ED-0F23-4F22-BE08-23A93476C6A9}" presName="spacer" presStyleCnt="0"/>
      <dgm:spPr/>
    </dgm:pt>
    <dgm:pt modelId="{0B3BF1D2-D4FD-4DBD-B11E-3599302B6F46}" type="pres">
      <dgm:prSet presAssocID="{CBB2B37F-907B-41D6-882E-601998B3C09D}" presName="comp" presStyleCnt="0"/>
      <dgm:spPr/>
    </dgm:pt>
    <dgm:pt modelId="{24A76ABF-68EC-4E83-A2E2-F0ABBB8905BC}" type="pres">
      <dgm:prSet presAssocID="{CBB2B37F-907B-41D6-882E-601998B3C09D}" presName="box" presStyleLbl="node1" presStyleIdx="8" presStyleCnt="9"/>
      <dgm:spPr/>
      <dgm:t>
        <a:bodyPr/>
        <a:lstStyle/>
        <a:p>
          <a:endParaRPr lang="en-US"/>
        </a:p>
      </dgm:t>
    </dgm:pt>
    <dgm:pt modelId="{1071C02A-772E-4D2D-9F94-BD831A6B7B7D}" type="pres">
      <dgm:prSet presAssocID="{CBB2B37F-907B-41D6-882E-601998B3C09D}" presName="img" presStyleLbl="fgImgPlace1" presStyleIdx="8" presStyleCnt="9"/>
      <dgm:spPr>
        <a:blipFill>
          <a:blip xmlns:r="http://schemas.openxmlformats.org/officeDocument/2006/relationships" r:embed="rId9">
            <a:extLst>
              <a:ext uri="{28A0092B-C50C-407E-A947-70E740481C1C}">
                <a14:useLocalDpi xmlns:a14="http://schemas.microsoft.com/office/drawing/2010/main" val="0"/>
              </a:ext>
            </a:extLst>
          </a:blip>
          <a:srcRect/>
          <a:stretch>
            <a:fillRect l="-24000" r="-24000"/>
          </a:stretch>
        </a:blipFill>
      </dgm:spPr>
    </dgm:pt>
    <dgm:pt modelId="{6F713AA6-2393-45D3-9E1E-0E7782FC9C60}" type="pres">
      <dgm:prSet presAssocID="{CBB2B37F-907B-41D6-882E-601998B3C09D}" presName="text" presStyleLbl="node1" presStyleIdx="8" presStyleCnt="9">
        <dgm:presLayoutVars>
          <dgm:bulletEnabled val="1"/>
        </dgm:presLayoutVars>
      </dgm:prSet>
      <dgm:spPr/>
      <dgm:t>
        <a:bodyPr/>
        <a:lstStyle/>
        <a:p>
          <a:endParaRPr lang="en-US"/>
        </a:p>
      </dgm:t>
    </dgm:pt>
  </dgm:ptLst>
  <dgm:cxnLst>
    <dgm:cxn modelId="{46A7EFF3-1CED-4F16-B8B2-B6F1AF3B0448}" type="presOf" srcId="{D5EC79EC-CD02-4850-8A48-D728E7AC45E9}" destId="{F5FB6E26-A59D-412C-9C04-514B79FE2D72}" srcOrd="0" destOrd="0" presId="urn:microsoft.com/office/officeart/2005/8/layout/vList4"/>
    <dgm:cxn modelId="{9C007E3D-6A1C-481F-B234-7EDC43AC2DD6}" type="presOf" srcId="{CBB2B37F-907B-41D6-882E-601998B3C09D}" destId="{24A76ABF-68EC-4E83-A2E2-F0ABBB8905BC}" srcOrd="0" destOrd="0" presId="urn:microsoft.com/office/officeart/2005/8/layout/vList4"/>
    <dgm:cxn modelId="{CCF613F6-3042-4DC8-ABAE-30413DC1C491}" type="presOf" srcId="{8E3F2692-23A7-4A81-A126-43EB3A915F34}" destId="{ADA09EC6-3C6B-4D39-A241-991FD95E38CD}" srcOrd="0" destOrd="0" presId="urn:microsoft.com/office/officeart/2005/8/layout/vList4"/>
    <dgm:cxn modelId="{7FB9AE53-1590-4172-9C34-1E992DB6FD60}" type="presOf" srcId="{681A8D18-3DAF-43BE-8A68-5832197852D5}" destId="{9C1EF2DA-F65E-4645-B83D-8F14A8FCA67E}" srcOrd="0" destOrd="0" presId="urn:microsoft.com/office/officeart/2005/8/layout/vList4"/>
    <dgm:cxn modelId="{E6D3014F-CD7E-463A-8B28-5E7446628B48}" type="presOf" srcId="{D5EC79EC-CD02-4850-8A48-D728E7AC45E9}" destId="{75F707EA-BEE9-43C9-87EC-C5DB871EFD6E}" srcOrd="1" destOrd="0" presId="urn:microsoft.com/office/officeart/2005/8/layout/vList4"/>
    <dgm:cxn modelId="{E3E8ABE0-9B1A-4FF2-93AA-8017520B09BB}" type="presOf" srcId="{379D8648-56E6-49EB-AEAB-A465D845C1CD}" destId="{3D70E6C2-7721-4172-84C1-CCDD23B55355}" srcOrd="1" destOrd="0" presId="urn:microsoft.com/office/officeart/2005/8/layout/vList4"/>
    <dgm:cxn modelId="{C7467611-040A-4F6D-BF76-BD8D1AAA6F12}" srcId="{E7BA92BE-C19C-4D5D-83C1-1A8E169AEB4D}" destId="{8D348E51-35E1-4A29-9C21-677152E8C41A}" srcOrd="4" destOrd="0" parTransId="{BBA80BB7-3340-4062-BBF1-D300AE49BA2B}" sibTransId="{5FE72B37-879D-4E83-B98F-AD100AECB936}"/>
    <dgm:cxn modelId="{70ACCBD7-46C6-4D03-83EF-03B7BE1D8F09}" srcId="{E7BA92BE-C19C-4D5D-83C1-1A8E169AEB4D}" destId="{D5EC79EC-CD02-4850-8A48-D728E7AC45E9}" srcOrd="6" destOrd="0" parTransId="{C1E5B3EF-6338-458B-A23B-09127CF38BF6}" sibTransId="{1213BEB9-C6EA-46CA-B273-D2949B6FB5FB}"/>
    <dgm:cxn modelId="{2371ABD2-4C61-47CF-B0B4-5FFFB43A762D}" srcId="{E7BA92BE-C19C-4D5D-83C1-1A8E169AEB4D}" destId="{681A8D18-3DAF-43BE-8A68-5832197852D5}" srcOrd="0" destOrd="0" parTransId="{366D1E1A-B08E-436F-89B1-124A51B145A4}" sibTransId="{2FF3A3DF-D720-492E-81E6-5F3431E1AB07}"/>
    <dgm:cxn modelId="{C26079A0-91E3-47A0-950D-A5DAE75C274E}" type="presOf" srcId="{8D348E51-35E1-4A29-9C21-677152E8C41A}" destId="{CB10FADE-0E96-4FA5-B6F9-ABA3DE7FA00F}" srcOrd="1" destOrd="0" presId="urn:microsoft.com/office/officeart/2005/8/layout/vList4"/>
    <dgm:cxn modelId="{8B4E7A9F-A2FF-41CB-8513-135AE669A1D6}" type="presOf" srcId="{CBB2B37F-907B-41D6-882E-601998B3C09D}" destId="{6F713AA6-2393-45D3-9E1E-0E7782FC9C60}" srcOrd="1" destOrd="0" presId="urn:microsoft.com/office/officeart/2005/8/layout/vList4"/>
    <dgm:cxn modelId="{080D2EC0-BCD7-4C0A-A9CC-C1C923506E22}" type="presOf" srcId="{8E3F2692-23A7-4A81-A126-43EB3A915F34}" destId="{CE83B511-0EC8-48C9-AE34-D6DEA77229E2}" srcOrd="1" destOrd="0" presId="urn:microsoft.com/office/officeart/2005/8/layout/vList4"/>
    <dgm:cxn modelId="{29A5D8AE-0C15-43AA-A244-57F70CEE7FEC}" type="presOf" srcId="{236A9AD3-09EE-412D-988C-CE8AC6041363}" destId="{334A3BA9-C29E-4DCA-86ED-24F4750BCA26}" srcOrd="0" destOrd="0" presId="urn:microsoft.com/office/officeart/2005/8/layout/vList4"/>
    <dgm:cxn modelId="{0F9027D9-0E61-448F-AF2F-59EF4EBEE20C}" srcId="{E7BA92BE-C19C-4D5D-83C1-1A8E169AEB4D}" destId="{8E3F2692-23A7-4A81-A126-43EB3A915F34}" srcOrd="1" destOrd="0" parTransId="{5D88043A-81F1-4A3B-9389-994FDC094794}" sibTransId="{8DD6C965-FF4F-4943-9C91-96CBA7CF4486}"/>
    <dgm:cxn modelId="{D4B51728-62E4-4595-B050-3271684EE803}" srcId="{E7BA92BE-C19C-4D5D-83C1-1A8E169AEB4D}" destId="{CBB2B37F-907B-41D6-882E-601998B3C09D}" srcOrd="8" destOrd="0" parTransId="{339FC69F-ECB4-42D4-9ADF-FF328ACD1C95}" sibTransId="{C392CF23-84A2-4482-A209-41073BAF4998}"/>
    <dgm:cxn modelId="{D0D38084-5057-4E28-975F-85743FFE5B2E}" type="presOf" srcId="{8D348E51-35E1-4A29-9C21-677152E8C41A}" destId="{1181644A-2FB0-4225-A392-0F366DA1D30E}" srcOrd="0" destOrd="0" presId="urn:microsoft.com/office/officeart/2005/8/layout/vList4"/>
    <dgm:cxn modelId="{E80ACFE4-7475-4A50-82A4-6276758BBFE6}" type="presOf" srcId="{59795BEE-DDC0-4445-8973-0FCFA566EFBB}" destId="{6C9F2F60-952D-4F43-8B7C-470275D75919}" srcOrd="0" destOrd="0" presId="urn:microsoft.com/office/officeart/2005/8/layout/vList4"/>
    <dgm:cxn modelId="{6CF9A4C7-CBD9-481E-8D5F-39FB0E4D7A61}" type="presOf" srcId="{379D8648-56E6-49EB-AEAB-A465D845C1CD}" destId="{4AD24150-C32F-4791-985B-001E8DB4C980}" srcOrd="0" destOrd="0" presId="urn:microsoft.com/office/officeart/2005/8/layout/vList4"/>
    <dgm:cxn modelId="{AA559DC5-5F03-46BD-9AB7-C318FC374F66}" type="presOf" srcId="{4D1B3AE1-5189-47B7-B4ED-3F64B2BE422F}" destId="{77C720F0-2FE9-4C17-AD5D-4D89AF57B423}" srcOrd="1" destOrd="0" presId="urn:microsoft.com/office/officeart/2005/8/layout/vList4"/>
    <dgm:cxn modelId="{E8EFBFED-9634-45C5-AF11-654E518F89C8}" srcId="{E7BA92BE-C19C-4D5D-83C1-1A8E169AEB4D}" destId="{59795BEE-DDC0-4445-8973-0FCFA566EFBB}" srcOrd="7" destOrd="0" parTransId="{FCB64DF0-02B1-4910-8D2A-BCAC48E4B87F}" sibTransId="{E18280ED-0F23-4F22-BE08-23A93476C6A9}"/>
    <dgm:cxn modelId="{FDE764F0-E13F-4E80-AA50-3121569E4B0F}" type="presOf" srcId="{236A9AD3-09EE-412D-988C-CE8AC6041363}" destId="{0ED01A96-7F8C-48C7-ADDB-A90991D33977}" srcOrd="1" destOrd="0" presId="urn:microsoft.com/office/officeart/2005/8/layout/vList4"/>
    <dgm:cxn modelId="{0F2A1856-F88E-4BEE-B8DA-CA4EFA5494AD}" type="presOf" srcId="{E7BA92BE-C19C-4D5D-83C1-1A8E169AEB4D}" destId="{9890A743-9F64-434E-8E5F-7CAC5C3CE92D}" srcOrd="0" destOrd="0" presId="urn:microsoft.com/office/officeart/2005/8/layout/vList4"/>
    <dgm:cxn modelId="{BF8A918C-EB99-4DFF-884A-8132553EEEDF}" srcId="{E7BA92BE-C19C-4D5D-83C1-1A8E169AEB4D}" destId="{379D8648-56E6-49EB-AEAB-A465D845C1CD}" srcOrd="5" destOrd="0" parTransId="{12FBF733-B4E3-41B8-A91C-CB3997294B11}" sibTransId="{8B7C66FF-DB30-46D1-8641-D30492BF79D4}"/>
    <dgm:cxn modelId="{133FED2B-9345-4B0B-A59E-2C948F16BDA8}" srcId="{E7BA92BE-C19C-4D5D-83C1-1A8E169AEB4D}" destId="{4D1B3AE1-5189-47B7-B4ED-3F64B2BE422F}" srcOrd="2" destOrd="0" parTransId="{F4FE66E1-40D1-4908-920D-537776CEB0CF}" sibTransId="{03843359-02F4-4F7A-BEF6-DEDD33518297}"/>
    <dgm:cxn modelId="{16B6556B-EDC2-4137-8A88-1D147704574B}" type="presOf" srcId="{681A8D18-3DAF-43BE-8A68-5832197852D5}" destId="{A35E4587-F488-43E9-8CD1-C8B26E193C7C}" srcOrd="1" destOrd="0" presId="urn:microsoft.com/office/officeart/2005/8/layout/vList4"/>
    <dgm:cxn modelId="{2FF82460-0EED-4768-B8C9-ED126FCD9207}" type="presOf" srcId="{4D1B3AE1-5189-47B7-B4ED-3F64B2BE422F}" destId="{DB45ECA9-392E-4ED2-ADD4-89C963A7B93A}" srcOrd="0" destOrd="0" presId="urn:microsoft.com/office/officeart/2005/8/layout/vList4"/>
    <dgm:cxn modelId="{611A33FD-99AC-435D-96CA-D494604F4821}" type="presOf" srcId="{59795BEE-DDC0-4445-8973-0FCFA566EFBB}" destId="{FC7EAE75-1E81-44D8-A399-2AC98ACE4662}" srcOrd="1" destOrd="0" presId="urn:microsoft.com/office/officeart/2005/8/layout/vList4"/>
    <dgm:cxn modelId="{DD56E4C3-5E44-414B-8FEC-0DBA27627032}" srcId="{E7BA92BE-C19C-4D5D-83C1-1A8E169AEB4D}" destId="{236A9AD3-09EE-412D-988C-CE8AC6041363}" srcOrd="3" destOrd="0" parTransId="{A3EFBBA8-473C-47F3-A17F-764883A41A37}" sibTransId="{AC953FA7-1916-43A5-A991-C06D0224CC47}"/>
    <dgm:cxn modelId="{34AD5D97-770A-4002-A6D4-E18A97DDB78C}" type="presParOf" srcId="{9890A743-9F64-434E-8E5F-7CAC5C3CE92D}" destId="{13F83F6B-FFBD-4711-9B42-938486C9C82E}" srcOrd="0" destOrd="0" presId="urn:microsoft.com/office/officeart/2005/8/layout/vList4"/>
    <dgm:cxn modelId="{1F1201DB-0E13-4D30-9976-1A5C3D422FB6}" type="presParOf" srcId="{13F83F6B-FFBD-4711-9B42-938486C9C82E}" destId="{9C1EF2DA-F65E-4645-B83D-8F14A8FCA67E}" srcOrd="0" destOrd="0" presId="urn:microsoft.com/office/officeart/2005/8/layout/vList4"/>
    <dgm:cxn modelId="{31377DBB-C8DF-4CB5-89F5-84B493549A43}" type="presParOf" srcId="{13F83F6B-FFBD-4711-9B42-938486C9C82E}" destId="{4156E3C8-9705-4625-B954-1C5500EC1F7E}" srcOrd="1" destOrd="0" presId="urn:microsoft.com/office/officeart/2005/8/layout/vList4"/>
    <dgm:cxn modelId="{61204A53-5C95-4999-A483-6BD1634FDA73}" type="presParOf" srcId="{13F83F6B-FFBD-4711-9B42-938486C9C82E}" destId="{A35E4587-F488-43E9-8CD1-C8B26E193C7C}" srcOrd="2" destOrd="0" presId="urn:microsoft.com/office/officeart/2005/8/layout/vList4"/>
    <dgm:cxn modelId="{359EBD03-03FD-49BE-996D-F7186EEF71A7}" type="presParOf" srcId="{9890A743-9F64-434E-8E5F-7CAC5C3CE92D}" destId="{62633356-FF5A-4277-9481-40645EA302E4}" srcOrd="1" destOrd="0" presId="urn:microsoft.com/office/officeart/2005/8/layout/vList4"/>
    <dgm:cxn modelId="{B7D929E5-1945-4B2B-8DFB-030C02D29C49}" type="presParOf" srcId="{9890A743-9F64-434E-8E5F-7CAC5C3CE92D}" destId="{5F8B302A-627F-43CE-A59F-90BD795E0065}" srcOrd="2" destOrd="0" presId="urn:microsoft.com/office/officeart/2005/8/layout/vList4"/>
    <dgm:cxn modelId="{ED37E94D-969E-4FA6-96F5-7F8B3B81C4D1}" type="presParOf" srcId="{5F8B302A-627F-43CE-A59F-90BD795E0065}" destId="{ADA09EC6-3C6B-4D39-A241-991FD95E38CD}" srcOrd="0" destOrd="0" presId="urn:microsoft.com/office/officeart/2005/8/layout/vList4"/>
    <dgm:cxn modelId="{DDCA8C23-D835-4A18-ADC2-F6F8CF90A56D}" type="presParOf" srcId="{5F8B302A-627F-43CE-A59F-90BD795E0065}" destId="{EB05AED6-829D-4EFA-85B6-FD73F51E01B2}" srcOrd="1" destOrd="0" presId="urn:microsoft.com/office/officeart/2005/8/layout/vList4"/>
    <dgm:cxn modelId="{0A575B9D-724C-4BD7-BDFE-217CF74C6337}" type="presParOf" srcId="{5F8B302A-627F-43CE-A59F-90BD795E0065}" destId="{CE83B511-0EC8-48C9-AE34-D6DEA77229E2}" srcOrd="2" destOrd="0" presId="urn:microsoft.com/office/officeart/2005/8/layout/vList4"/>
    <dgm:cxn modelId="{5D943A2D-35A9-4104-88C7-F8B370C2BD3E}" type="presParOf" srcId="{9890A743-9F64-434E-8E5F-7CAC5C3CE92D}" destId="{8F3E4B39-8EE7-440B-BE0F-A9D2ACD77AD4}" srcOrd="3" destOrd="0" presId="urn:microsoft.com/office/officeart/2005/8/layout/vList4"/>
    <dgm:cxn modelId="{8CD57F9C-40E0-45DE-B11A-B48A9916CF74}" type="presParOf" srcId="{9890A743-9F64-434E-8E5F-7CAC5C3CE92D}" destId="{238DBC6B-7A33-4B0F-9EEB-5CE92B02E181}" srcOrd="4" destOrd="0" presId="urn:microsoft.com/office/officeart/2005/8/layout/vList4"/>
    <dgm:cxn modelId="{AC424297-1607-4052-A6D3-4F5A215BE46A}" type="presParOf" srcId="{238DBC6B-7A33-4B0F-9EEB-5CE92B02E181}" destId="{DB45ECA9-392E-4ED2-ADD4-89C963A7B93A}" srcOrd="0" destOrd="0" presId="urn:microsoft.com/office/officeart/2005/8/layout/vList4"/>
    <dgm:cxn modelId="{619842D0-6F2E-4539-B7A4-C44EC735EB18}" type="presParOf" srcId="{238DBC6B-7A33-4B0F-9EEB-5CE92B02E181}" destId="{683FBB26-F1C2-46DC-BCB9-4B5B8948E2DF}" srcOrd="1" destOrd="0" presId="urn:microsoft.com/office/officeart/2005/8/layout/vList4"/>
    <dgm:cxn modelId="{8367B6F7-11C5-45CC-9AF7-0269A02A4DE1}" type="presParOf" srcId="{238DBC6B-7A33-4B0F-9EEB-5CE92B02E181}" destId="{77C720F0-2FE9-4C17-AD5D-4D89AF57B423}" srcOrd="2" destOrd="0" presId="urn:microsoft.com/office/officeart/2005/8/layout/vList4"/>
    <dgm:cxn modelId="{845F4BE0-D71C-47B6-9EC6-3C485307BA57}" type="presParOf" srcId="{9890A743-9F64-434E-8E5F-7CAC5C3CE92D}" destId="{66A2380A-F889-420A-8D71-535AA2498798}" srcOrd="5" destOrd="0" presId="urn:microsoft.com/office/officeart/2005/8/layout/vList4"/>
    <dgm:cxn modelId="{9D0784BB-F9F0-433D-A4B2-9E3AC0ABA917}" type="presParOf" srcId="{9890A743-9F64-434E-8E5F-7CAC5C3CE92D}" destId="{4DBF68E2-BE97-4107-8598-B63CF474EE95}" srcOrd="6" destOrd="0" presId="urn:microsoft.com/office/officeart/2005/8/layout/vList4"/>
    <dgm:cxn modelId="{7C885056-A0B4-4FB3-BDBD-513A249F801D}" type="presParOf" srcId="{4DBF68E2-BE97-4107-8598-B63CF474EE95}" destId="{334A3BA9-C29E-4DCA-86ED-24F4750BCA26}" srcOrd="0" destOrd="0" presId="urn:microsoft.com/office/officeart/2005/8/layout/vList4"/>
    <dgm:cxn modelId="{46BAF969-8254-4559-836D-33FACFCF69A9}" type="presParOf" srcId="{4DBF68E2-BE97-4107-8598-B63CF474EE95}" destId="{87183F32-D3ED-4E22-8AFB-A54DC7F4F918}" srcOrd="1" destOrd="0" presId="urn:microsoft.com/office/officeart/2005/8/layout/vList4"/>
    <dgm:cxn modelId="{E37284F8-3893-4077-8F53-A53840416765}" type="presParOf" srcId="{4DBF68E2-BE97-4107-8598-B63CF474EE95}" destId="{0ED01A96-7F8C-48C7-ADDB-A90991D33977}" srcOrd="2" destOrd="0" presId="urn:microsoft.com/office/officeart/2005/8/layout/vList4"/>
    <dgm:cxn modelId="{7B3AB924-0C5E-4E86-AE9E-36D3D801A7EA}" type="presParOf" srcId="{9890A743-9F64-434E-8E5F-7CAC5C3CE92D}" destId="{E9BC61CB-A81F-4C37-9D93-B897AE00AB10}" srcOrd="7" destOrd="0" presId="urn:microsoft.com/office/officeart/2005/8/layout/vList4"/>
    <dgm:cxn modelId="{E048EBA7-CEEF-4565-8660-14A6F58A6BE8}" type="presParOf" srcId="{9890A743-9F64-434E-8E5F-7CAC5C3CE92D}" destId="{32C151AA-E71C-468A-AEC1-8DDC2FC6BAC3}" srcOrd="8" destOrd="0" presId="urn:microsoft.com/office/officeart/2005/8/layout/vList4"/>
    <dgm:cxn modelId="{D5FFF40A-4A48-450A-AE3C-6176426381E1}" type="presParOf" srcId="{32C151AA-E71C-468A-AEC1-8DDC2FC6BAC3}" destId="{1181644A-2FB0-4225-A392-0F366DA1D30E}" srcOrd="0" destOrd="0" presId="urn:microsoft.com/office/officeart/2005/8/layout/vList4"/>
    <dgm:cxn modelId="{EB7F4CC0-689D-4B5F-BD49-EB0E53C8A3A8}" type="presParOf" srcId="{32C151AA-E71C-468A-AEC1-8DDC2FC6BAC3}" destId="{C51DEB0E-C843-44BA-A8A6-E32A9060889F}" srcOrd="1" destOrd="0" presId="urn:microsoft.com/office/officeart/2005/8/layout/vList4"/>
    <dgm:cxn modelId="{2E8774CE-2394-41DD-ACC0-7E4C2308FE99}" type="presParOf" srcId="{32C151AA-E71C-468A-AEC1-8DDC2FC6BAC3}" destId="{CB10FADE-0E96-4FA5-B6F9-ABA3DE7FA00F}" srcOrd="2" destOrd="0" presId="urn:microsoft.com/office/officeart/2005/8/layout/vList4"/>
    <dgm:cxn modelId="{D220F449-F743-4631-A6A1-E4B4E7729357}" type="presParOf" srcId="{9890A743-9F64-434E-8E5F-7CAC5C3CE92D}" destId="{83AEFCE9-BDAE-4F0B-A7AB-375FD7983339}" srcOrd="9" destOrd="0" presId="urn:microsoft.com/office/officeart/2005/8/layout/vList4"/>
    <dgm:cxn modelId="{F11EF3E8-ACE5-4225-9336-CF3F95F20774}" type="presParOf" srcId="{9890A743-9F64-434E-8E5F-7CAC5C3CE92D}" destId="{68A72570-2661-46CE-B9DA-5E31156B8CE0}" srcOrd="10" destOrd="0" presId="urn:microsoft.com/office/officeart/2005/8/layout/vList4"/>
    <dgm:cxn modelId="{B67B9A45-AA8A-47AE-AEF1-8C1C627A58E0}" type="presParOf" srcId="{68A72570-2661-46CE-B9DA-5E31156B8CE0}" destId="{4AD24150-C32F-4791-985B-001E8DB4C980}" srcOrd="0" destOrd="0" presId="urn:microsoft.com/office/officeart/2005/8/layout/vList4"/>
    <dgm:cxn modelId="{FCAF45F5-8802-4E24-8243-65F679982BE2}" type="presParOf" srcId="{68A72570-2661-46CE-B9DA-5E31156B8CE0}" destId="{7D5E44CA-EE76-451C-BF29-4EF20ABC27FD}" srcOrd="1" destOrd="0" presId="urn:microsoft.com/office/officeart/2005/8/layout/vList4"/>
    <dgm:cxn modelId="{45F62010-7451-4707-BE1F-3782AB3C7581}" type="presParOf" srcId="{68A72570-2661-46CE-B9DA-5E31156B8CE0}" destId="{3D70E6C2-7721-4172-84C1-CCDD23B55355}" srcOrd="2" destOrd="0" presId="urn:microsoft.com/office/officeart/2005/8/layout/vList4"/>
    <dgm:cxn modelId="{076860FF-A847-43DB-987B-397FCEE2FA10}" type="presParOf" srcId="{9890A743-9F64-434E-8E5F-7CAC5C3CE92D}" destId="{181CF141-5BFB-4C58-882D-2EA012C42938}" srcOrd="11" destOrd="0" presId="urn:microsoft.com/office/officeart/2005/8/layout/vList4"/>
    <dgm:cxn modelId="{AF7C7412-8DA1-4215-BBB3-9F403D549FF3}" type="presParOf" srcId="{9890A743-9F64-434E-8E5F-7CAC5C3CE92D}" destId="{D0365792-42C6-43F6-80A7-8DADD1F7D492}" srcOrd="12" destOrd="0" presId="urn:microsoft.com/office/officeart/2005/8/layout/vList4"/>
    <dgm:cxn modelId="{041A2BEB-88FD-438F-97B9-D9BB15184F32}" type="presParOf" srcId="{D0365792-42C6-43F6-80A7-8DADD1F7D492}" destId="{F5FB6E26-A59D-412C-9C04-514B79FE2D72}" srcOrd="0" destOrd="0" presId="urn:microsoft.com/office/officeart/2005/8/layout/vList4"/>
    <dgm:cxn modelId="{3B5347F1-D929-4050-A302-1E2988697EC3}" type="presParOf" srcId="{D0365792-42C6-43F6-80A7-8DADD1F7D492}" destId="{F889DE83-E50E-4034-B6F2-47C426ECB7BC}" srcOrd="1" destOrd="0" presId="urn:microsoft.com/office/officeart/2005/8/layout/vList4"/>
    <dgm:cxn modelId="{CB2DC0EB-62B8-41A0-8F1D-AEC9F0BAC025}" type="presParOf" srcId="{D0365792-42C6-43F6-80A7-8DADD1F7D492}" destId="{75F707EA-BEE9-43C9-87EC-C5DB871EFD6E}" srcOrd="2" destOrd="0" presId="urn:microsoft.com/office/officeart/2005/8/layout/vList4"/>
    <dgm:cxn modelId="{651C75DA-6ED0-45AE-B365-58A87B074E6A}" type="presParOf" srcId="{9890A743-9F64-434E-8E5F-7CAC5C3CE92D}" destId="{2447CE56-3BFA-43F2-A353-4A63A19581BA}" srcOrd="13" destOrd="0" presId="urn:microsoft.com/office/officeart/2005/8/layout/vList4"/>
    <dgm:cxn modelId="{2B10DE55-F4D1-43EE-A2A6-66016E49CAFD}" type="presParOf" srcId="{9890A743-9F64-434E-8E5F-7CAC5C3CE92D}" destId="{E75A3EBA-8199-4D13-8A29-AB839DEAA636}" srcOrd="14" destOrd="0" presId="urn:microsoft.com/office/officeart/2005/8/layout/vList4"/>
    <dgm:cxn modelId="{0E6B7730-D9AC-4C92-A303-61144E311987}" type="presParOf" srcId="{E75A3EBA-8199-4D13-8A29-AB839DEAA636}" destId="{6C9F2F60-952D-4F43-8B7C-470275D75919}" srcOrd="0" destOrd="0" presId="urn:microsoft.com/office/officeart/2005/8/layout/vList4"/>
    <dgm:cxn modelId="{14557616-C061-4DF5-B0BA-10E07F6715C8}" type="presParOf" srcId="{E75A3EBA-8199-4D13-8A29-AB839DEAA636}" destId="{63B77D97-B3F4-487D-B69B-A9ABF5EC90F7}" srcOrd="1" destOrd="0" presId="urn:microsoft.com/office/officeart/2005/8/layout/vList4"/>
    <dgm:cxn modelId="{E50B23EC-C40C-4589-AC2E-7E15287A5004}" type="presParOf" srcId="{E75A3EBA-8199-4D13-8A29-AB839DEAA636}" destId="{FC7EAE75-1E81-44D8-A399-2AC98ACE4662}" srcOrd="2" destOrd="0" presId="urn:microsoft.com/office/officeart/2005/8/layout/vList4"/>
    <dgm:cxn modelId="{945E10C8-ED95-423F-AFDD-4BAD4738BE78}" type="presParOf" srcId="{9890A743-9F64-434E-8E5F-7CAC5C3CE92D}" destId="{A55931B4-A4CA-44EC-A186-BB5F4A883888}" srcOrd="15" destOrd="0" presId="urn:microsoft.com/office/officeart/2005/8/layout/vList4"/>
    <dgm:cxn modelId="{A8DF8EC7-AABE-42B3-B1A3-5757B6DC60F2}" type="presParOf" srcId="{9890A743-9F64-434E-8E5F-7CAC5C3CE92D}" destId="{0B3BF1D2-D4FD-4DBD-B11E-3599302B6F46}" srcOrd="16" destOrd="0" presId="urn:microsoft.com/office/officeart/2005/8/layout/vList4"/>
    <dgm:cxn modelId="{EB0910EA-0AD3-43F6-A58D-B33BD6115901}" type="presParOf" srcId="{0B3BF1D2-D4FD-4DBD-B11E-3599302B6F46}" destId="{24A76ABF-68EC-4E83-A2E2-F0ABBB8905BC}" srcOrd="0" destOrd="0" presId="urn:microsoft.com/office/officeart/2005/8/layout/vList4"/>
    <dgm:cxn modelId="{BAB56D93-D956-430C-BF5D-7FB51F6A3260}" type="presParOf" srcId="{0B3BF1D2-D4FD-4DBD-B11E-3599302B6F46}" destId="{1071C02A-772E-4D2D-9F94-BD831A6B7B7D}" srcOrd="1" destOrd="0" presId="urn:microsoft.com/office/officeart/2005/8/layout/vList4"/>
    <dgm:cxn modelId="{C6409DE0-045F-4F91-AB52-C8D9752F3022}" type="presParOf" srcId="{0B3BF1D2-D4FD-4DBD-B11E-3599302B6F46}" destId="{6F713AA6-2393-45D3-9E1E-0E7782FC9C60}"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BA92BE-C19C-4D5D-83C1-1A8E169AEB4D}"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81A8D18-3DAF-43BE-8A68-5832197852D5}">
      <dgm:prSet phldrT="[Text]"/>
      <dgm:spPr>
        <a:solidFill>
          <a:schemeClr val="accent3"/>
        </a:solidFill>
      </dgm:spPr>
      <dgm:t>
        <a:bodyPr/>
        <a:lstStyle/>
        <a:p>
          <a:r>
            <a:rPr lang="en-US" dirty="0" smtClean="0"/>
            <a:t>Data</a:t>
          </a:r>
        </a:p>
      </dgm:t>
    </dgm:pt>
    <dgm:pt modelId="{366D1E1A-B08E-436F-89B1-124A51B145A4}" type="parTrans" cxnId="{2371ABD2-4C61-47CF-B0B4-5FFFB43A762D}">
      <dgm:prSet/>
      <dgm:spPr/>
      <dgm:t>
        <a:bodyPr/>
        <a:lstStyle/>
        <a:p>
          <a:endParaRPr lang="en-US"/>
        </a:p>
      </dgm:t>
    </dgm:pt>
    <dgm:pt modelId="{2FF3A3DF-D720-492E-81E6-5F3431E1AB07}" type="sibTrans" cxnId="{2371ABD2-4C61-47CF-B0B4-5FFFB43A762D}">
      <dgm:prSet/>
      <dgm:spPr/>
      <dgm:t>
        <a:bodyPr/>
        <a:lstStyle/>
        <a:p>
          <a:endParaRPr lang="en-US"/>
        </a:p>
      </dgm:t>
    </dgm:pt>
    <dgm:pt modelId="{8E3F2692-23A7-4A81-A126-43EB3A915F34}">
      <dgm:prSet phldrT="[Text]"/>
      <dgm:spPr>
        <a:solidFill>
          <a:schemeClr val="accent3"/>
        </a:solidFill>
      </dgm:spPr>
      <dgm:t>
        <a:bodyPr/>
        <a:lstStyle/>
        <a:p>
          <a:r>
            <a:rPr lang="en-US" dirty="0" smtClean="0"/>
            <a:t>Application</a:t>
          </a:r>
          <a:endParaRPr lang="en-US" dirty="0"/>
        </a:p>
      </dgm:t>
    </dgm:pt>
    <dgm:pt modelId="{5D88043A-81F1-4A3B-9389-994FDC094794}" type="parTrans" cxnId="{0F9027D9-0E61-448F-AF2F-59EF4EBEE20C}">
      <dgm:prSet/>
      <dgm:spPr/>
      <dgm:t>
        <a:bodyPr/>
        <a:lstStyle/>
        <a:p>
          <a:endParaRPr lang="en-US"/>
        </a:p>
      </dgm:t>
    </dgm:pt>
    <dgm:pt modelId="{8DD6C965-FF4F-4943-9C91-96CBA7CF4486}" type="sibTrans" cxnId="{0F9027D9-0E61-448F-AF2F-59EF4EBEE20C}">
      <dgm:prSet/>
      <dgm:spPr/>
      <dgm:t>
        <a:bodyPr/>
        <a:lstStyle/>
        <a:p>
          <a:endParaRPr lang="en-US"/>
        </a:p>
      </dgm:t>
    </dgm:pt>
    <dgm:pt modelId="{4D1B3AE1-5189-47B7-B4ED-3F64B2BE422F}">
      <dgm:prSet phldrT="[Text]"/>
      <dgm:spPr>
        <a:solidFill>
          <a:schemeClr val="accent3"/>
        </a:solidFill>
      </dgm:spPr>
      <dgm:t>
        <a:bodyPr/>
        <a:lstStyle/>
        <a:p>
          <a:r>
            <a:rPr lang="en-US" dirty="0" smtClean="0"/>
            <a:t>Runtime</a:t>
          </a:r>
          <a:endParaRPr lang="en-US" dirty="0"/>
        </a:p>
      </dgm:t>
    </dgm:pt>
    <dgm:pt modelId="{F4FE66E1-40D1-4908-920D-537776CEB0CF}" type="parTrans" cxnId="{133FED2B-9345-4B0B-A59E-2C948F16BDA8}">
      <dgm:prSet/>
      <dgm:spPr/>
      <dgm:t>
        <a:bodyPr/>
        <a:lstStyle/>
        <a:p>
          <a:endParaRPr lang="en-US"/>
        </a:p>
      </dgm:t>
    </dgm:pt>
    <dgm:pt modelId="{03843359-02F4-4F7A-BEF6-DEDD33518297}" type="sibTrans" cxnId="{133FED2B-9345-4B0B-A59E-2C948F16BDA8}">
      <dgm:prSet/>
      <dgm:spPr/>
      <dgm:t>
        <a:bodyPr/>
        <a:lstStyle/>
        <a:p>
          <a:endParaRPr lang="en-US"/>
        </a:p>
      </dgm:t>
    </dgm:pt>
    <dgm:pt modelId="{236A9AD3-09EE-412D-988C-CE8AC6041363}">
      <dgm:prSet phldrT="[Text]"/>
      <dgm:spPr>
        <a:solidFill>
          <a:schemeClr val="accent3"/>
        </a:solidFill>
      </dgm:spPr>
      <dgm:t>
        <a:bodyPr/>
        <a:lstStyle/>
        <a:p>
          <a:r>
            <a:rPr lang="en-US" dirty="0" smtClean="0"/>
            <a:t>Middleware</a:t>
          </a:r>
          <a:endParaRPr lang="en-US" dirty="0"/>
        </a:p>
      </dgm:t>
    </dgm:pt>
    <dgm:pt modelId="{A3EFBBA8-473C-47F3-A17F-764883A41A37}" type="parTrans" cxnId="{DD56E4C3-5E44-414B-8FEC-0DBA27627032}">
      <dgm:prSet/>
      <dgm:spPr/>
      <dgm:t>
        <a:bodyPr/>
        <a:lstStyle/>
        <a:p>
          <a:endParaRPr lang="en-US"/>
        </a:p>
      </dgm:t>
    </dgm:pt>
    <dgm:pt modelId="{AC953FA7-1916-43A5-A991-C06D0224CC47}" type="sibTrans" cxnId="{DD56E4C3-5E44-414B-8FEC-0DBA27627032}">
      <dgm:prSet/>
      <dgm:spPr/>
      <dgm:t>
        <a:bodyPr/>
        <a:lstStyle/>
        <a:p>
          <a:endParaRPr lang="en-US"/>
        </a:p>
      </dgm:t>
    </dgm:pt>
    <dgm:pt modelId="{8D348E51-35E1-4A29-9C21-677152E8C41A}">
      <dgm:prSet phldrT="[Text]"/>
      <dgm:spPr>
        <a:solidFill>
          <a:schemeClr val="accent3"/>
        </a:solidFill>
      </dgm:spPr>
      <dgm:t>
        <a:bodyPr/>
        <a:lstStyle/>
        <a:p>
          <a:r>
            <a:rPr lang="en-US" dirty="0" smtClean="0"/>
            <a:t>O/S</a:t>
          </a:r>
          <a:endParaRPr lang="en-US" dirty="0"/>
        </a:p>
      </dgm:t>
    </dgm:pt>
    <dgm:pt modelId="{BBA80BB7-3340-4062-BBF1-D300AE49BA2B}" type="parTrans" cxnId="{C7467611-040A-4F6D-BF76-BD8D1AAA6F12}">
      <dgm:prSet/>
      <dgm:spPr/>
      <dgm:t>
        <a:bodyPr/>
        <a:lstStyle/>
        <a:p>
          <a:endParaRPr lang="en-US"/>
        </a:p>
      </dgm:t>
    </dgm:pt>
    <dgm:pt modelId="{5FE72B37-879D-4E83-B98F-AD100AECB936}" type="sibTrans" cxnId="{C7467611-040A-4F6D-BF76-BD8D1AAA6F12}">
      <dgm:prSet/>
      <dgm:spPr/>
      <dgm:t>
        <a:bodyPr/>
        <a:lstStyle/>
        <a:p>
          <a:endParaRPr lang="en-US"/>
        </a:p>
      </dgm:t>
    </dgm:pt>
    <dgm:pt modelId="{379D8648-56E6-49EB-AEAB-A465D845C1CD}">
      <dgm:prSet phldrT="[Text]"/>
      <dgm:spPr/>
      <dgm:t>
        <a:bodyPr/>
        <a:lstStyle/>
        <a:p>
          <a:r>
            <a:rPr lang="en-US" dirty="0" smtClean="0"/>
            <a:t>Virtualization</a:t>
          </a:r>
          <a:endParaRPr lang="en-US" dirty="0"/>
        </a:p>
      </dgm:t>
    </dgm:pt>
    <dgm:pt modelId="{12FBF733-B4E3-41B8-A91C-CB3997294B11}" type="parTrans" cxnId="{BF8A918C-EB99-4DFF-884A-8132553EEEDF}">
      <dgm:prSet/>
      <dgm:spPr/>
      <dgm:t>
        <a:bodyPr/>
        <a:lstStyle/>
        <a:p>
          <a:endParaRPr lang="en-US"/>
        </a:p>
      </dgm:t>
    </dgm:pt>
    <dgm:pt modelId="{8B7C66FF-DB30-46D1-8641-D30492BF79D4}" type="sibTrans" cxnId="{BF8A918C-EB99-4DFF-884A-8132553EEEDF}">
      <dgm:prSet/>
      <dgm:spPr/>
      <dgm:t>
        <a:bodyPr/>
        <a:lstStyle/>
        <a:p>
          <a:endParaRPr lang="en-US"/>
        </a:p>
      </dgm:t>
    </dgm:pt>
    <dgm:pt modelId="{D5EC79EC-CD02-4850-8A48-D728E7AC45E9}">
      <dgm:prSet phldrT="[Text]"/>
      <dgm:spPr/>
      <dgm:t>
        <a:bodyPr/>
        <a:lstStyle/>
        <a:p>
          <a:r>
            <a:rPr lang="en-US" dirty="0" smtClean="0"/>
            <a:t>Server</a:t>
          </a:r>
          <a:endParaRPr lang="en-US" dirty="0"/>
        </a:p>
      </dgm:t>
    </dgm:pt>
    <dgm:pt modelId="{C1E5B3EF-6338-458B-A23B-09127CF38BF6}" type="parTrans" cxnId="{70ACCBD7-46C6-4D03-83EF-03B7BE1D8F09}">
      <dgm:prSet/>
      <dgm:spPr/>
      <dgm:t>
        <a:bodyPr/>
        <a:lstStyle/>
        <a:p>
          <a:endParaRPr lang="en-US"/>
        </a:p>
      </dgm:t>
    </dgm:pt>
    <dgm:pt modelId="{1213BEB9-C6EA-46CA-B273-D2949B6FB5FB}" type="sibTrans" cxnId="{70ACCBD7-46C6-4D03-83EF-03B7BE1D8F09}">
      <dgm:prSet/>
      <dgm:spPr/>
      <dgm:t>
        <a:bodyPr/>
        <a:lstStyle/>
        <a:p>
          <a:endParaRPr lang="en-US"/>
        </a:p>
      </dgm:t>
    </dgm:pt>
    <dgm:pt modelId="{59795BEE-DDC0-4445-8973-0FCFA566EFBB}">
      <dgm:prSet phldrT="[Text]"/>
      <dgm:spPr/>
      <dgm:t>
        <a:bodyPr/>
        <a:lstStyle/>
        <a:p>
          <a:r>
            <a:rPr lang="en-US" dirty="0" smtClean="0"/>
            <a:t>Storage</a:t>
          </a:r>
          <a:endParaRPr lang="en-US" dirty="0"/>
        </a:p>
      </dgm:t>
    </dgm:pt>
    <dgm:pt modelId="{FCB64DF0-02B1-4910-8D2A-BCAC48E4B87F}" type="parTrans" cxnId="{E8EFBFED-9634-45C5-AF11-654E518F89C8}">
      <dgm:prSet/>
      <dgm:spPr/>
      <dgm:t>
        <a:bodyPr/>
        <a:lstStyle/>
        <a:p>
          <a:endParaRPr lang="en-US"/>
        </a:p>
      </dgm:t>
    </dgm:pt>
    <dgm:pt modelId="{E18280ED-0F23-4F22-BE08-23A93476C6A9}" type="sibTrans" cxnId="{E8EFBFED-9634-45C5-AF11-654E518F89C8}">
      <dgm:prSet/>
      <dgm:spPr/>
      <dgm:t>
        <a:bodyPr/>
        <a:lstStyle/>
        <a:p>
          <a:endParaRPr lang="en-US"/>
        </a:p>
      </dgm:t>
    </dgm:pt>
    <dgm:pt modelId="{CBB2B37F-907B-41D6-882E-601998B3C09D}">
      <dgm:prSet phldrT="[Text]"/>
      <dgm:spPr/>
      <dgm:t>
        <a:bodyPr/>
        <a:lstStyle/>
        <a:p>
          <a:r>
            <a:rPr lang="en-US" dirty="0" smtClean="0"/>
            <a:t>Networking</a:t>
          </a:r>
          <a:endParaRPr lang="en-US" dirty="0"/>
        </a:p>
      </dgm:t>
    </dgm:pt>
    <dgm:pt modelId="{339FC69F-ECB4-42D4-9ADF-FF328ACD1C95}" type="parTrans" cxnId="{D4B51728-62E4-4595-B050-3271684EE803}">
      <dgm:prSet/>
      <dgm:spPr/>
      <dgm:t>
        <a:bodyPr/>
        <a:lstStyle/>
        <a:p>
          <a:endParaRPr lang="en-US"/>
        </a:p>
      </dgm:t>
    </dgm:pt>
    <dgm:pt modelId="{C392CF23-84A2-4482-A209-41073BAF4998}" type="sibTrans" cxnId="{D4B51728-62E4-4595-B050-3271684EE803}">
      <dgm:prSet/>
      <dgm:spPr/>
      <dgm:t>
        <a:bodyPr/>
        <a:lstStyle/>
        <a:p>
          <a:endParaRPr lang="en-US"/>
        </a:p>
      </dgm:t>
    </dgm:pt>
    <dgm:pt modelId="{9890A743-9F64-434E-8E5F-7CAC5C3CE92D}" type="pres">
      <dgm:prSet presAssocID="{E7BA92BE-C19C-4D5D-83C1-1A8E169AEB4D}" presName="linear" presStyleCnt="0">
        <dgm:presLayoutVars>
          <dgm:dir/>
          <dgm:resizeHandles val="exact"/>
        </dgm:presLayoutVars>
      </dgm:prSet>
      <dgm:spPr/>
      <dgm:t>
        <a:bodyPr/>
        <a:lstStyle/>
        <a:p>
          <a:endParaRPr lang="en-US"/>
        </a:p>
      </dgm:t>
    </dgm:pt>
    <dgm:pt modelId="{13F83F6B-FFBD-4711-9B42-938486C9C82E}" type="pres">
      <dgm:prSet presAssocID="{681A8D18-3DAF-43BE-8A68-5832197852D5}" presName="comp" presStyleCnt="0"/>
      <dgm:spPr/>
    </dgm:pt>
    <dgm:pt modelId="{9C1EF2DA-F65E-4645-B83D-8F14A8FCA67E}" type="pres">
      <dgm:prSet presAssocID="{681A8D18-3DAF-43BE-8A68-5832197852D5}" presName="box" presStyleLbl="node1" presStyleIdx="0" presStyleCnt="9"/>
      <dgm:spPr/>
      <dgm:t>
        <a:bodyPr/>
        <a:lstStyle/>
        <a:p>
          <a:endParaRPr lang="en-US"/>
        </a:p>
      </dgm:t>
    </dgm:pt>
    <dgm:pt modelId="{4156E3C8-9705-4625-B954-1C5500EC1F7E}" type="pres">
      <dgm:prSet presAssocID="{681A8D18-3DAF-43BE-8A68-5832197852D5}" presName="img" presStyleLbl="fgImgPlace1" presStyleIdx="0" presStyleCnt="9"/>
      <dgm:spPr>
        <a:blipFill>
          <a:blip xmlns:r="http://schemas.openxmlformats.org/officeDocument/2006/relationships" r:embed="rId1">
            <a:extLst>
              <a:ext uri="{28A0092B-C50C-407E-A947-70E740481C1C}">
                <a14:useLocalDpi xmlns:a14="http://schemas.microsoft.com/office/drawing/2010/main" val="0"/>
              </a:ext>
            </a:extLst>
          </a:blip>
          <a:srcRect/>
          <a:stretch>
            <a:fillRect l="-40000" r="-40000"/>
          </a:stretch>
        </a:blipFill>
      </dgm:spPr>
    </dgm:pt>
    <dgm:pt modelId="{A35E4587-F488-43E9-8CD1-C8B26E193C7C}" type="pres">
      <dgm:prSet presAssocID="{681A8D18-3DAF-43BE-8A68-5832197852D5}" presName="text" presStyleLbl="node1" presStyleIdx="0" presStyleCnt="9">
        <dgm:presLayoutVars>
          <dgm:bulletEnabled val="1"/>
        </dgm:presLayoutVars>
      </dgm:prSet>
      <dgm:spPr/>
      <dgm:t>
        <a:bodyPr/>
        <a:lstStyle/>
        <a:p>
          <a:endParaRPr lang="en-US"/>
        </a:p>
      </dgm:t>
    </dgm:pt>
    <dgm:pt modelId="{62633356-FF5A-4277-9481-40645EA302E4}" type="pres">
      <dgm:prSet presAssocID="{2FF3A3DF-D720-492E-81E6-5F3431E1AB07}" presName="spacer" presStyleCnt="0"/>
      <dgm:spPr/>
    </dgm:pt>
    <dgm:pt modelId="{5F8B302A-627F-43CE-A59F-90BD795E0065}" type="pres">
      <dgm:prSet presAssocID="{8E3F2692-23A7-4A81-A126-43EB3A915F34}" presName="comp" presStyleCnt="0"/>
      <dgm:spPr/>
    </dgm:pt>
    <dgm:pt modelId="{ADA09EC6-3C6B-4D39-A241-991FD95E38CD}" type="pres">
      <dgm:prSet presAssocID="{8E3F2692-23A7-4A81-A126-43EB3A915F34}" presName="box" presStyleLbl="node1" presStyleIdx="1" presStyleCnt="9"/>
      <dgm:spPr/>
      <dgm:t>
        <a:bodyPr/>
        <a:lstStyle/>
        <a:p>
          <a:endParaRPr lang="en-US"/>
        </a:p>
      </dgm:t>
    </dgm:pt>
    <dgm:pt modelId="{EB05AED6-829D-4EFA-85B6-FD73F51E01B2}" type="pres">
      <dgm:prSet presAssocID="{8E3F2692-23A7-4A81-A126-43EB3A915F34}" presName="img" presStyleLbl="fgImgPlace1"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CE83B511-0EC8-48C9-AE34-D6DEA77229E2}" type="pres">
      <dgm:prSet presAssocID="{8E3F2692-23A7-4A81-A126-43EB3A915F34}" presName="text" presStyleLbl="node1" presStyleIdx="1" presStyleCnt="9">
        <dgm:presLayoutVars>
          <dgm:bulletEnabled val="1"/>
        </dgm:presLayoutVars>
      </dgm:prSet>
      <dgm:spPr/>
      <dgm:t>
        <a:bodyPr/>
        <a:lstStyle/>
        <a:p>
          <a:endParaRPr lang="en-US"/>
        </a:p>
      </dgm:t>
    </dgm:pt>
    <dgm:pt modelId="{8F3E4B39-8EE7-440B-BE0F-A9D2ACD77AD4}" type="pres">
      <dgm:prSet presAssocID="{8DD6C965-FF4F-4943-9C91-96CBA7CF4486}" presName="spacer" presStyleCnt="0"/>
      <dgm:spPr/>
    </dgm:pt>
    <dgm:pt modelId="{238DBC6B-7A33-4B0F-9EEB-5CE92B02E181}" type="pres">
      <dgm:prSet presAssocID="{4D1B3AE1-5189-47B7-B4ED-3F64B2BE422F}" presName="comp" presStyleCnt="0"/>
      <dgm:spPr/>
    </dgm:pt>
    <dgm:pt modelId="{DB45ECA9-392E-4ED2-ADD4-89C963A7B93A}" type="pres">
      <dgm:prSet presAssocID="{4D1B3AE1-5189-47B7-B4ED-3F64B2BE422F}" presName="box" presStyleLbl="node1" presStyleIdx="2" presStyleCnt="9"/>
      <dgm:spPr/>
      <dgm:t>
        <a:bodyPr/>
        <a:lstStyle/>
        <a:p>
          <a:endParaRPr lang="en-US"/>
        </a:p>
      </dgm:t>
    </dgm:pt>
    <dgm:pt modelId="{683FBB26-F1C2-46DC-BCB9-4B5B8948E2DF}" type="pres">
      <dgm:prSet presAssocID="{4D1B3AE1-5189-47B7-B4ED-3F64B2BE422F}" presName="img" presStyleLbl="fgImgPlace1" presStyleIdx="2" presStyleCnt="9"/>
      <dgm:spPr>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dgm:spPr>
    </dgm:pt>
    <dgm:pt modelId="{77C720F0-2FE9-4C17-AD5D-4D89AF57B423}" type="pres">
      <dgm:prSet presAssocID="{4D1B3AE1-5189-47B7-B4ED-3F64B2BE422F}" presName="text" presStyleLbl="node1" presStyleIdx="2" presStyleCnt="9">
        <dgm:presLayoutVars>
          <dgm:bulletEnabled val="1"/>
        </dgm:presLayoutVars>
      </dgm:prSet>
      <dgm:spPr/>
      <dgm:t>
        <a:bodyPr/>
        <a:lstStyle/>
        <a:p>
          <a:endParaRPr lang="en-US"/>
        </a:p>
      </dgm:t>
    </dgm:pt>
    <dgm:pt modelId="{66A2380A-F889-420A-8D71-535AA2498798}" type="pres">
      <dgm:prSet presAssocID="{03843359-02F4-4F7A-BEF6-DEDD33518297}" presName="spacer" presStyleCnt="0"/>
      <dgm:spPr/>
    </dgm:pt>
    <dgm:pt modelId="{4DBF68E2-BE97-4107-8598-B63CF474EE95}" type="pres">
      <dgm:prSet presAssocID="{236A9AD3-09EE-412D-988C-CE8AC6041363}" presName="comp" presStyleCnt="0"/>
      <dgm:spPr/>
    </dgm:pt>
    <dgm:pt modelId="{334A3BA9-C29E-4DCA-86ED-24F4750BCA26}" type="pres">
      <dgm:prSet presAssocID="{236A9AD3-09EE-412D-988C-CE8AC6041363}" presName="box" presStyleLbl="node1" presStyleIdx="3" presStyleCnt="9"/>
      <dgm:spPr/>
      <dgm:t>
        <a:bodyPr/>
        <a:lstStyle/>
        <a:p>
          <a:endParaRPr lang="en-US"/>
        </a:p>
      </dgm:t>
    </dgm:pt>
    <dgm:pt modelId="{87183F32-D3ED-4E22-8AFB-A54DC7F4F918}" type="pres">
      <dgm:prSet presAssocID="{236A9AD3-09EE-412D-988C-CE8AC6041363}" presName="img" presStyleLbl="fgImgPlace1" presStyleIdx="3" presStyleCnt="9"/>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0ED01A96-7F8C-48C7-ADDB-A90991D33977}" type="pres">
      <dgm:prSet presAssocID="{236A9AD3-09EE-412D-988C-CE8AC6041363}" presName="text" presStyleLbl="node1" presStyleIdx="3" presStyleCnt="9">
        <dgm:presLayoutVars>
          <dgm:bulletEnabled val="1"/>
        </dgm:presLayoutVars>
      </dgm:prSet>
      <dgm:spPr/>
      <dgm:t>
        <a:bodyPr/>
        <a:lstStyle/>
        <a:p>
          <a:endParaRPr lang="en-US"/>
        </a:p>
      </dgm:t>
    </dgm:pt>
    <dgm:pt modelId="{E9BC61CB-A81F-4C37-9D93-B897AE00AB10}" type="pres">
      <dgm:prSet presAssocID="{AC953FA7-1916-43A5-A991-C06D0224CC47}" presName="spacer" presStyleCnt="0"/>
      <dgm:spPr/>
    </dgm:pt>
    <dgm:pt modelId="{32C151AA-E71C-468A-AEC1-8DDC2FC6BAC3}" type="pres">
      <dgm:prSet presAssocID="{8D348E51-35E1-4A29-9C21-677152E8C41A}" presName="comp" presStyleCnt="0"/>
      <dgm:spPr/>
    </dgm:pt>
    <dgm:pt modelId="{1181644A-2FB0-4225-A392-0F366DA1D30E}" type="pres">
      <dgm:prSet presAssocID="{8D348E51-35E1-4A29-9C21-677152E8C41A}" presName="box" presStyleLbl="node1" presStyleIdx="4" presStyleCnt="9"/>
      <dgm:spPr/>
      <dgm:t>
        <a:bodyPr/>
        <a:lstStyle/>
        <a:p>
          <a:endParaRPr lang="en-US"/>
        </a:p>
      </dgm:t>
    </dgm:pt>
    <dgm:pt modelId="{C51DEB0E-C843-44BA-A8A6-E32A9060889F}" type="pres">
      <dgm:prSet presAssocID="{8D348E51-35E1-4A29-9C21-677152E8C41A}" presName="img" presStyleLbl="fgImgPlace1" presStyleIdx="4" presStyleCnt="9"/>
      <dgm:spPr>
        <a:blipFill>
          <a:blip xmlns:r="http://schemas.openxmlformats.org/officeDocument/2006/relationships" r:embed="rId5">
            <a:extLst>
              <a:ext uri="{28A0092B-C50C-407E-A947-70E740481C1C}">
                <a14:useLocalDpi xmlns:a14="http://schemas.microsoft.com/office/drawing/2010/main" val="0"/>
              </a:ext>
            </a:extLst>
          </a:blip>
          <a:srcRect/>
          <a:stretch>
            <a:fillRect l="-49000" r="-49000"/>
          </a:stretch>
        </a:blipFill>
      </dgm:spPr>
    </dgm:pt>
    <dgm:pt modelId="{CB10FADE-0E96-4FA5-B6F9-ABA3DE7FA00F}" type="pres">
      <dgm:prSet presAssocID="{8D348E51-35E1-4A29-9C21-677152E8C41A}" presName="text" presStyleLbl="node1" presStyleIdx="4" presStyleCnt="9">
        <dgm:presLayoutVars>
          <dgm:bulletEnabled val="1"/>
        </dgm:presLayoutVars>
      </dgm:prSet>
      <dgm:spPr/>
      <dgm:t>
        <a:bodyPr/>
        <a:lstStyle/>
        <a:p>
          <a:endParaRPr lang="en-US"/>
        </a:p>
      </dgm:t>
    </dgm:pt>
    <dgm:pt modelId="{83AEFCE9-BDAE-4F0B-A7AB-375FD7983339}" type="pres">
      <dgm:prSet presAssocID="{5FE72B37-879D-4E83-B98F-AD100AECB936}" presName="spacer" presStyleCnt="0"/>
      <dgm:spPr/>
    </dgm:pt>
    <dgm:pt modelId="{68A72570-2661-46CE-B9DA-5E31156B8CE0}" type="pres">
      <dgm:prSet presAssocID="{379D8648-56E6-49EB-AEAB-A465D845C1CD}" presName="comp" presStyleCnt="0"/>
      <dgm:spPr/>
    </dgm:pt>
    <dgm:pt modelId="{4AD24150-C32F-4791-985B-001E8DB4C980}" type="pres">
      <dgm:prSet presAssocID="{379D8648-56E6-49EB-AEAB-A465D845C1CD}" presName="box" presStyleLbl="node1" presStyleIdx="5" presStyleCnt="9"/>
      <dgm:spPr/>
      <dgm:t>
        <a:bodyPr/>
        <a:lstStyle/>
        <a:p>
          <a:endParaRPr lang="en-US"/>
        </a:p>
      </dgm:t>
    </dgm:pt>
    <dgm:pt modelId="{7D5E44CA-EE76-451C-BF29-4EF20ABC27FD}" type="pres">
      <dgm:prSet presAssocID="{379D8648-56E6-49EB-AEAB-A465D845C1CD}" presName="img" presStyleLbl="fgImgPlace1" presStyleIdx="5" presStyleCnt="9"/>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3D70E6C2-7721-4172-84C1-CCDD23B55355}" type="pres">
      <dgm:prSet presAssocID="{379D8648-56E6-49EB-AEAB-A465D845C1CD}" presName="text" presStyleLbl="node1" presStyleIdx="5" presStyleCnt="9">
        <dgm:presLayoutVars>
          <dgm:bulletEnabled val="1"/>
        </dgm:presLayoutVars>
      </dgm:prSet>
      <dgm:spPr/>
      <dgm:t>
        <a:bodyPr/>
        <a:lstStyle/>
        <a:p>
          <a:endParaRPr lang="en-US"/>
        </a:p>
      </dgm:t>
    </dgm:pt>
    <dgm:pt modelId="{181CF141-5BFB-4C58-882D-2EA012C42938}" type="pres">
      <dgm:prSet presAssocID="{8B7C66FF-DB30-46D1-8641-D30492BF79D4}" presName="spacer" presStyleCnt="0"/>
      <dgm:spPr/>
    </dgm:pt>
    <dgm:pt modelId="{D0365792-42C6-43F6-80A7-8DADD1F7D492}" type="pres">
      <dgm:prSet presAssocID="{D5EC79EC-CD02-4850-8A48-D728E7AC45E9}" presName="comp" presStyleCnt="0"/>
      <dgm:spPr/>
    </dgm:pt>
    <dgm:pt modelId="{F5FB6E26-A59D-412C-9C04-514B79FE2D72}" type="pres">
      <dgm:prSet presAssocID="{D5EC79EC-CD02-4850-8A48-D728E7AC45E9}" presName="box" presStyleLbl="node1" presStyleIdx="6" presStyleCnt="9"/>
      <dgm:spPr/>
      <dgm:t>
        <a:bodyPr/>
        <a:lstStyle/>
        <a:p>
          <a:endParaRPr lang="en-US"/>
        </a:p>
      </dgm:t>
    </dgm:pt>
    <dgm:pt modelId="{F889DE83-E50E-4034-B6F2-47C426ECB7BC}" type="pres">
      <dgm:prSet presAssocID="{D5EC79EC-CD02-4850-8A48-D728E7AC45E9}" presName="img" presStyleLbl="fgImgPlace1" presStyleIdx="6" presStyleCnt="9"/>
      <dgm:spPr>
        <a:blipFill>
          <a:blip xmlns:r="http://schemas.openxmlformats.org/officeDocument/2006/relationships" r:embed="rId7">
            <a:extLst>
              <a:ext uri="{28A0092B-C50C-407E-A947-70E740481C1C}">
                <a14:useLocalDpi xmlns:a14="http://schemas.microsoft.com/office/drawing/2010/main" val="0"/>
              </a:ext>
            </a:extLst>
          </a:blip>
          <a:srcRect/>
          <a:stretch>
            <a:fillRect t="-36000" b="-36000"/>
          </a:stretch>
        </a:blipFill>
      </dgm:spPr>
    </dgm:pt>
    <dgm:pt modelId="{75F707EA-BEE9-43C9-87EC-C5DB871EFD6E}" type="pres">
      <dgm:prSet presAssocID="{D5EC79EC-CD02-4850-8A48-D728E7AC45E9}" presName="text" presStyleLbl="node1" presStyleIdx="6" presStyleCnt="9">
        <dgm:presLayoutVars>
          <dgm:bulletEnabled val="1"/>
        </dgm:presLayoutVars>
      </dgm:prSet>
      <dgm:spPr/>
      <dgm:t>
        <a:bodyPr/>
        <a:lstStyle/>
        <a:p>
          <a:endParaRPr lang="en-US"/>
        </a:p>
      </dgm:t>
    </dgm:pt>
    <dgm:pt modelId="{2447CE56-3BFA-43F2-A353-4A63A19581BA}" type="pres">
      <dgm:prSet presAssocID="{1213BEB9-C6EA-46CA-B273-D2949B6FB5FB}" presName="spacer" presStyleCnt="0"/>
      <dgm:spPr/>
    </dgm:pt>
    <dgm:pt modelId="{E75A3EBA-8199-4D13-8A29-AB839DEAA636}" type="pres">
      <dgm:prSet presAssocID="{59795BEE-DDC0-4445-8973-0FCFA566EFBB}" presName="comp" presStyleCnt="0"/>
      <dgm:spPr/>
    </dgm:pt>
    <dgm:pt modelId="{6C9F2F60-952D-4F43-8B7C-470275D75919}" type="pres">
      <dgm:prSet presAssocID="{59795BEE-DDC0-4445-8973-0FCFA566EFBB}" presName="box" presStyleLbl="node1" presStyleIdx="7" presStyleCnt="9"/>
      <dgm:spPr/>
      <dgm:t>
        <a:bodyPr/>
        <a:lstStyle/>
        <a:p>
          <a:endParaRPr lang="en-US"/>
        </a:p>
      </dgm:t>
    </dgm:pt>
    <dgm:pt modelId="{63B77D97-B3F4-487D-B69B-A9ABF5EC90F7}" type="pres">
      <dgm:prSet presAssocID="{59795BEE-DDC0-4445-8973-0FCFA566EFBB}" presName="img" presStyleLbl="fgImgPlace1" presStyleIdx="7" presStyleCnt="9"/>
      <dgm:spPr>
        <a:blipFill>
          <a:blip xmlns:r="http://schemas.openxmlformats.org/officeDocument/2006/relationships" r:embed="rId8">
            <a:extLst>
              <a:ext uri="{28A0092B-C50C-407E-A947-70E740481C1C}">
                <a14:useLocalDpi xmlns:a14="http://schemas.microsoft.com/office/drawing/2010/main" val="0"/>
              </a:ext>
            </a:extLst>
          </a:blip>
          <a:srcRect/>
          <a:stretch>
            <a:fillRect l="-10000" r="-10000"/>
          </a:stretch>
        </a:blipFill>
      </dgm:spPr>
    </dgm:pt>
    <dgm:pt modelId="{FC7EAE75-1E81-44D8-A399-2AC98ACE4662}" type="pres">
      <dgm:prSet presAssocID="{59795BEE-DDC0-4445-8973-0FCFA566EFBB}" presName="text" presStyleLbl="node1" presStyleIdx="7" presStyleCnt="9">
        <dgm:presLayoutVars>
          <dgm:bulletEnabled val="1"/>
        </dgm:presLayoutVars>
      </dgm:prSet>
      <dgm:spPr/>
      <dgm:t>
        <a:bodyPr/>
        <a:lstStyle/>
        <a:p>
          <a:endParaRPr lang="en-US"/>
        </a:p>
      </dgm:t>
    </dgm:pt>
    <dgm:pt modelId="{A55931B4-A4CA-44EC-A186-BB5F4A883888}" type="pres">
      <dgm:prSet presAssocID="{E18280ED-0F23-4F22-BE08-23A93476C6A9}" presName="spacer" presStyleCnt="0"/>
      <dgm:spPr/>
    </dgm:pt>
    <dgm:pt modelId="{0B3BF1D2-D4FD-4DBD-B11E-3599302B6F46}" type="pres">
      <dgm:prSet presAssocID="{CBB2B37F-907B-41D6-882E-601998B3C09D}" presName="comp" presStyleCnt="0"/>
      <dgm:spPr/>
    </dgm:pt>
    <dgm:pt modelId="{24A76ABF-68EC-4E83-A2E2-F0ABBB8905BC}" type="pres">
      <dgm:prSet presAssocID="{CBB2B37F-907B-41D6-882E-601998B3C09D}" presName="box" presStyleLbl="node1" presStyleIdx="8" presStyleCnt="9"/>
      <dgm:spPr/>
      <dgm:t>
        <a:bodyPr/>
        <a:lstStyle/>
        <a:p>
          <a:endParaRPr lang="en-US"/>
        </a:p>
      </dgm:t>
    </dgm:pt>
    <dgm:pt modelId="{1071C02A-772E-4D2D-9F94-BD831A6B7B7D}" type="pres">
      <dgm:prSet presAssocID="{CBB2B37F-907B-41D6-882E-601998B3C09D}" presName="img" presStyleLbl="fgImgPlace1" presStyleIdx="8" presStyleCnt="9"/>
      <dgm:spPr>
        <a:blipFill>
          <a:blip xmlns:r="http://schemas.openxmlformats.org/officeDocument/2006/relationships" r:embed="rId9">
            <a:extLst>
              <a:ext uri="{28A0092B-C50C-407E-A947-70E740481C1C}">
                <a14:useLocalDpi xmlns:a14="http://schemas.microsoft.com/office/drawing/2010/main" val="0"/>
              </a:ext>
            </a:extLst>
          </a:blip>
          <a:srcRect/>
          <a:stretch>
            <a:fillRect l="-24000" r="-24000"/>
          </a:stretch>
        </a:blipFill>
      </dgm:spPr>
    </dgm:pt>
    <dgm:pt modelId="{6F713AA6-2393-45D3-9E1E-0E7782FC9C60}" type="pres">
      <dgm:prSet presAssocID="{CBB2B37F-907B-41D6-882E-601998B3C09D}" presName="text" presStyleLbl="node1" presStyleIdx="8" presStyleCnt="9">
        <dgm:presLayoutVars>
          <dgm:bulletEnabled val="1"/>
        </dgm:presLayoutVars>
      </dgm:prSet>
      <dgm:spPr/>
      <dgm:t>
        <a:bodyPr/>
        <a:lstStyle/>
        <a:p>
          <a:endParaRPr lang="en-US"/>
        </a:p>
      </dgm:t>
    </dgm:pt>
  </dgm:ptLst>
  <dgm:cxnLst>
    <dgm:cxn modelId="{BB126269-A565-4976-95DE-BD66C3EF1254}" type="presOf" srcId="{681A8D18-3DAF-43BE-8A68-5832197852D5}" destId="{A35E4587-F488-43E9-8CD1-C8B26E193C7C}" srcOrd="1" destOrd="0" presId="urn:microsoft.com/office/officeart/2005/8/layout/vList4"/>
    <dgm:cxn modelId="{7B23B88D-8F58-498F-80F5-B01F23DDE84A}" type="presOf" srcId="{59795BEE-DDC0-4445-8973-0FCFA566EFBB}" destId="{FC7EAE75-1E81-44D8-A399-2AC98ACE4662}" srcOrd="1" destOrd="0" presId="urn:microsoft.com/office/officeart/2005/8/layout/vList4"/>
    <dgm:cxn modelId="{53BD6BE8-9F2A-4A81-9D71-A617291762C1}" type="presOf" srcId="{8D348E51-35E1-4A29-9C21-677152E8C41A}" destId="{CB10FADE-0E96-4FA5-B6F9-ABA3DE7FA00F}" srcOrd="1" destOrd="0" presId="urn:microsoft.com/office/officeart/2005/8/layout/vList4"/>
    <dgm:cxn modelId="{B4788405-880C-46DC-A537-34B7C2AB8C0D}" type="presOf" srcId="{236A9AD3-09EE-412D-988C-CE8AC6041363}" destId="{0ED01A96-7F8C-48C7-ADDB-A90991D33977}" srcOrd="1" destOrd="0" presId="urn:microsoft.com/office/officeart/2005/8/layout/vList4"/>
    <dgm:cxn modelId="{47F641D2-F5F8-468F-88B2-C5456666A0B1}" type="presOf" srcId="{59795BEE-DDC0-4445-8973-0FCFA566EFBB}" destId="{6C9F2F60-952D-4F43-8B7C-470275D75919}" srcOrd="0" destOrd="0" presId="urn:microsoft.com/office/officeart/2005/8/layout/vList4"/>
    <dgm:cxn modelId="{271E9FF5-C767-4F65-BF8A-55E5F67DC4C6}" type="presOf" srcId="{236A9AD3-09EE-412D-988C-CE8AC6041363}" destId="{334A3BA9-C29E-4DCA-86ED-24F4750BCA26}" srcOrd="0" destOrd="0" presId="urn:microsoft.com/office/officeart/2005/8/layout/vList4"/>
    <dgm:cxn modelId="{C7467611-040A-4F6D-BF76-BD8D1AAA6F12}" srcId="{E7BA92BE-C19C-4D5D-83C1-1A8E169AEB4D}" destId="{8D348E51-35E1-4A29-9C21-677152E8C41A}" srcOrd="4" destOrd="0" parTransId="{BBA80BB7-3340-4062-BBF1-D300AE49BA2B}" sibTransId="{5FE72B37-879D-4E83-B98F-AD100AECB936}"/>
    <dgm:cxn modelId="{70ACCBD7-46C6-4D03-83EF-03B7BE1D8F09}" srcId="{E7BA92BE-C19C-4D5D-83C1-1A8E169AEB4D}" destId="{D5EC79EC-CD02-4850-8A48-D728E7AC45E9}" srcOrd="6" destOrd="0" parTransId="{C1E5B3EF-6338-458B-A23B-09127CF38BF6}" sibTransId="{1213BEB9-C6EA-46CA-B273-D2949B6FB5FB}"/>
    <dgm:cxn modelId="{2371ABD2-4C61-47CF-B0B4-5FFFB43A762D}" srcId="{E7BA92BE-C19C-4D5D-83C1-1A8E169AEB4D}" destId="{681A8D18-3DAF-43BE-8A68-5832197852D5}" srcOrd="0" destOrd="0" parTransId="{366D1E1A-B08E-436F-89B1-124A51B145A4}" sibTransId="{2FF3A3DF-D720-492E-81E6-5F3431E1AB07}"/>
    <dgm:cxn modelId="{5F409125-4B07-4E24-850F-1BF53CD8200C}" type="presOf" srcId="{CBB2B37F-907B-41D6-882E-601998B3C09D}" destId="{6F713AA6-2393-45D3-9E1E-0E7782FC9C60}" srcOrd="1" destOrd="0" presId="urn:microsoft.com/office/officeart/2005/8/layout/vList4"/>
    <dgm:cxn modelId="{CCF83518-C653-4044-B9D8-587E69CFF231}" type="presOf" srcId="{D5EC79EC-CD02-4850-8A48-D728E7AC45E9}" destId="{75F707EA-BEE9-43C9-87EC-C5DB871EFD6E}" srcOrd="1" destOrd="0" presId="urn:microsoft.com/office/officeart/2005/8/layout/vList4"/>
    <dgm:cxn modelId="{217682A0-B20A-4040-8D0A-A02C1D3CA124}" type="presOf" srcId="{4D1B3AE1-5189-47B7-B4ED-3F64B2BE422F}" destId="{77C720F0-2FE9-4C17-AD5D-4D89AF57B423}" srcOrd="1" destOrd="0" presId="urn:microsoft.com/office/officeart/2005/8/layout/vList4"/>
    <dgm:cxn modelId="{0F9027D9-0E61-448F-AF2F-59EF4EBEE20C}" srcId="{E7BA92BE-C19C-4D5D-83C1-1A8E169AEB4D}" destId="{8E3F2692-23A7-4A81-A126-43EB3A915F34}" srcOrd="1" destOrd="0" parTransId="{5D88043A-81F1-4A3B-9389-994FDC094794}" sibTransId="{8DD6C965-FF4F-4943-9C91-96CBA7CF4486}"/>
    <dgm:cxn modelId="{4D3E32DF-4E53-4DB6-B8FF-1A55B790A8FB}" type="presOf" srcId="{D5EC79EC-CD02-4850-8A48-D728E7AC45E9}" destId="{F5FB6E26-A59D-412C-9C04-514B79FE2D72}" srcOrd="0" destOrd="0" presId="urn:microsoft.com/office/officeart/2005/8/layout/vList4"/>
    <dgm:cxn modelId="{D4B51728-62E4-4595-B050-3271684EE803}" srcId="{E7BA92BE-C19C-4D5D-83C1-1A8E169AEB4D}" destId="{CBB2B37F-907B-41D6-882E-601998B3C09D}" srcOrd="8" destOrd="0" parTransId="{339FC69F-ECB4-42D4-9ADF-FF328ACD1C95}" sibTransId="{C392CF23-84A2-4482-A209-41073BAF4998}"/>
    <dgm:cxn modelId="{BF6AB960-C706-41F0-93D4-FBEACE9A4DF0}" type="presOf" srcId="{379D8648-56E6-49EB-AEAB-A465D845C1CD}" destId="{4AD24150-C32F-4791-985B-001E8DB4C980}" srcOrd="0" destOrd="0" presId="urn:microsoft.com/office/officeart/2005/8/layout/vList4"/>
    <dgm:cxn modelId="{2D6E3852-7F91-498E-8BF9-2524AFB95DBB}" type="presOf" srcId="{379D8648-56E6-49EB-AEAB-A465D845C1CD}" destId="{3D70E6C2-7721-4172-84C1-CCDD23B55355}" srcOrd="1" destOrd="0" presId="urn:microsoft.com/office/officeart/2005/8/layout/vList4"/>
    <dgm:cxn modelId="{BA07600F-69D8-4D1B-A724-5A3E60B33F8A}" type="presOf" srcId="{CBB2B37F-907B-41D6-882E-601998B3C09D}" destId="{24A76ABF-68EC-4E83-A2E2-F0ABBB8905BC}" srcOrd="0" destOrd="0" presId="urn:microsoft.com/office/officeart/2005/8/layout/vList4"/>
    <dgm:cxn modelId="{E8EFBFED-9634-45C5-AF11-654E518F89C8}" srcId="{E7BA92BE-C19C-4D5D-83C1-1A8E169AEB4D}" destId="{59795BEE-DDC0-4445-8973-0FCFA566EFBB}" srcOrd="7" destOrd="0" parTransId="{FCB64DF0-02B1-4910-8D2A-BCAC48E4B87F}" sibTransId="{E18280ED-0F23-4F22-BE08-23A93476C6A9}"/>
    <dgm:cxn modelId="{B454BBA7-E62A-4372-B575-B2D7A4F7C108}" type="presOf" srcId="{8D348E51-35E1-4A29-9C21-677152E8C41A}" destId="{1181644A-2FB0-4225-A392-0F366DA1D30E}" srcOrd="0" destOrd="0" presId="urn:microsoft.com/office/officeart/2005/8/layout/vList4"/>
    <dgm:cxn modelId="{F8E20570-7BCC-4596-95AD-464EDE1ED9A7}" type="presOf" srcId="{4D1B3AE1-5189-47B7-B4ED-3F64B2BE422F}" destId="{DB45ECA9-392E-4ED2-ADD4-89C963A7B93A}" srcOrd="0" destOrd="0" presId="urn:microsoft.com/office/officeart/2005/8/layout/vList4"/>
    <dgm:cxn modelId="{BF8A918C-EB99-4DFF-884A-8132553EEEDF}" srcId="{E7BA92BE-C19C-4D5D-83C1-1A8E169AEB4D}" destId="{379D8648-56E6-49EB-AEAB-A465D845C1CD}" srcOrd="5" destOrd="0" parTransId="{12FBF733-B4E3-41B8-A91C-CB3997294B11}" sibTransId="{8B7C66FF-DB30-46D1-8641-D30492BF79D4}"/>
    <dgm:cxn modelId="{133FED2B-9345-4B0B-A59E-2C948F16BDA8}" srcId="{E7BA92BE-C19C-4D5D-83C1-1A8E169AEB4D}" destId="{4D1B3AE1-5189-47B7-B4ED-3F64B2BE422F}" srcOrd="2" destOrd="0" parTransId="{F4FE66E1-40D1-4908-920D-537776CEB0CF}" sibTransId="{03843359-02F4-4F7A-BEF6-DEDD33518297}"/>
    <dgm:cxn modelId="{51CAB08F-A54D-43AF-B45B-F9A9E250910E}" type="presOf" srcId="{E7BA92BE-C19C-4D5D-83C1-1A8E169AEB4D}" destId="{9890A743-9F64-434E-8E5F-7CAC5C3CE92D}" srcOrd="0" destOrd="0" presId="urn:microsoft.com/office/officeart/2005/8/layout/vList4"/>
    <dgm:cxn modelId="{A33DA9CB-6D0B-425E-A3CE-4F8BEA005DD2}" type="presOf" srcId="{8E3F2692-23A7-4A81-A126-43EB3A915F34}" destId="{ADA09EC6-3C6B-4D39-A241-991FD95E38CD}" srcOrd="0" destOrd="0" presId="urn:microsoft.com/office/officeart/2005/8/layout/vList4"/>
    <dgm:cxn modelId="{8BE047D9-50B3-4355-BE23-1DC350D56A1A}" type="presOf" srcId="{681A8D18-3DAF-43BE-8A68-5832197852D5}" destId="{9C1EF2DA-F65E-4645-B83D-8F14A8FCA67E}" srcOrd="0" destOrd="0" presId="urn:microsoft.com/office/officeart/2005/8/layout/vList4"/>
    <dgm:cxn modelId="{0ABC20CA-CC27-4C87-9D65-B2FEE76786AC}" type="presOf" srcId="{8E3F2692-23A7-4A81-A126-43EB3A915F34}" destId="{CE83B511-0EC8-48C9-AE34-D6DEA77229E2}" srcOrd="1" destOrd="0" presId="urn:microsoft.com/office/officeart/2005/8/layout/vList4"/>
    <dgm:cxn modelId="{DD56E4C3-5E44-414B-8FEC-0DBA27627032}" srcId="{E7BA92BE-C19C-4D5D-83C1-1A8E169AEB4D}" destId="{236A9AD3-09EE-412D-988C-CE8AC6041363}" srcOrd="3" destOrd="0" parTransId="{A3EFBBA8-473C-47F3-A17F-764883A41A37}" sibTransId="{AC953FA7-1916-43A5-A991-C06D0224CC47}"/>
    <dgm:cxn modelId="{E1C0F893-BED8-47BF-87A1-DE8F96D39395}" type="presParOf" srcId="{9890A743-9F64-434E-8E5F-7CAC5C3CE92D}" destId="{13F83F6B-FFBD-4711-9B42-938486C9C82E}" srcOrd="0" destOrd="0" presId="urn:microsoft.com/office/officeart/2005/8/layout/vList4"/>
    <dgm:cxn modelId="{E80971B9-E18E-4F4F-8C5F-F3A45D845B33}" type="presParOf" srcId="{13F83F6B-FFBD-4711-9B42-938486C9C82E}" destId="{9C1EF2DA-F65E-4645-B83D-8F14A8FCA67E}" srcOrd="0" destOrd="0" presId="urn:microsoft.com/office/officeart/2005/8/layout/vList4"/>
    <dgm:cxn modelId="{F03C21B0-0112-41AE-AFAA-F01AB249960C}" type="presParOf" srcId="{13F83F6B-FFBD-4711-9B42-938486C9C82E}" destId="{4156E3C8-9705-4625-B954-1C5500EC1F7E}" srcOrd="1" destOrd="0" presId="urn:microsoft.com/office/officeart/2005/8/layout/vList4"/>
    <dgm:cxn modelId="{96E13936-3084-46EC-889E-E8402F0DAC17}" type="presParOf" srcId="{13F83F6B-FFBD-4711-9B42-938486C9C82E}" destId="{A35E4587-F488-43E9-8CD1-C8B26E193C7C}" srcOrd="2" destOrd="0" presId="urn:microsoft.com/office/officeart/2005/8/layout/vList4"/>
    <dgm:cxn modelId="{6AD2247F-1773-477C-AB82-051F7B9AC7E5}" type="presParOf" srcId="{9890A743-9F64-434E-8E5F-7CAC5C3CE92D}" destId="{62633356-FF5A-4277-9481-40645EA302E4}" srcOrd="1" destOrd="0" presId="urn:microsoft.com/office/officeart/2005/8/layout/vList4"/>
    <dgm:cxn modelId="{786491E3-37F1-4CED-97A7-3F65A8B45534}" type="presParOf" srcId="{9890A743-9F64-434E-8E5F-7CAC5C3CE92D}" destId="{5F8B302A-627F-43CE-A59F-90BD795E0065}" srcOrd="2" destOrd="0" presId="urn:microsoft.com/office/officeart/2005/8/layout/vList4"/>
    <dgm:cxn modelId="{23A399C2-B1D9-4009-9C52-D7EDC88A8A3E}" type="presParOf" srcId="{5F8B302A-627F-43CE-A59F-90BD795E0065}" destId="{ADA09EC6-3C6B-4D39-A241-991FD95E38CD}" srcOrd="0" destOrd="0" presId="urn:microsoft.com/office/officeart/2005/8/layout/vList4"/>
    <dgm:cxn modelId="{901F21CD-FC39-46A5-A821-7B2169F1F2CA}" type="presParOf" srcId="{5F8B302A-627F-43CE-A59F-90BD795E0065}" destId="{EB05AED6-829D-4EFA-85B6-FD73F51E01B2}" srcOrd="1" destOrd="0" presId="urn:microsoft.com/office/officeart/2005/8/layout/vList4"/>
    <dgm:cxn modelId="{9E89CCF2-92C3-4F8F-9303-B4BAA057F5C3}" type="presParOf" srcId="{5F8B302A-627F-43CE-A59F-90BD795E0065}" destId="{CE83B511-0EC8-48C9-AE34-D6DEA77229E2}" srcOrd="2" destOrd="0" presId="urn:microsoft.com/office/officeart/2005/8/layout/vList4"/>
    <dgm:cxn modelId="{2A386A50-8073-4BC7-9F84-1C9BC5265577}" type="presParOf" srcId="{9890A743-9F64-434E-8E5F-7CAC5C3CE92D}" destId="{8F3E4B39-8EE7-440B-BE0F-A9D2ACD77AD4}" srcOrd="3" destOrd="0" presId="urn:microsoft.com/office/officeart/2005/8/layout/vList4"/>
    <dgm:cxn modelId="{853931F3-E041-4582-9B5A-A570BE02D880}" type="presParOf" srcId="{9890A743-9F64-434E-8E5F-7CAC5C3CE92D}" destId="{238DBC6B-7A33-4B0F-9EEB-5CE92B02E181}" srcOrd="4" destOrd="0" presId="urn:microsoft.com/office/officeart/2005/8/layout/vList4"/>
    <dgm:cxn modelId="{2A74CB87-5705-4B99-9299-53F2E597896D}" type="presParOf" srcId="{238DBC6B-7A33-4B0F-9EEB-5CE92B02E181}" destId="{DB45ECA9-392E-4ED2-ADD4-89C963A7B93A}" srcOrd="0" destOrd="0" presId="urn:microsoft.com/office/officeart/2005/8/layout/vList4"/>
    <dgm:cxn modelId="{7336A2DC-0005-44C8-8DE0-DFF14285744A}" type="presParOf" srcId="{238DBC6B-7A33-4B0F-9EEB-5CE92B02E181}" destId="{683FBB26-F1C2-46DC-BCB9-4B5B8948E2DF}" srcOrd="1" destOrd="0" presId="urn:microsoft.com/office/officeart/2005/8/layout/vList4"/>
    <dgm:cxn modelId="{954CD08F-F8AD-4ABA-9F90-4131F4492663}" type="presParOf" srcId="{238DBC6B-7A33-4B0F-9EEB-5CE92B02E181}" destId="{77C720F0-2FE9-4C17-AD5D-4D89AF57B423}" srcOrd="2" destOrd="0" presId="urn:microsoft.com/office/officeart/2005/8/layout/vList4"/>
    <dgm:cxn modelId="{E3FC6423-CB3B-4DCF-999C-15731E154DF3}" type="presParOf" srcId="{9890A743-9F64-434E-8E5F-7CAC5C3CE92D}" destId="{66A2380A-F889-420A-8D71-535AA2498798}" srcOrd="5" destOrd="0" presId="urn:microsoft.com/office/officeart/2005/8/layout/vList4"/>
    <dgm:cxn modelId="{66B6D08E-4E9E-4660-B9C4-9931D9A26D45}" type="presParOf" srcId="{9890A743-9F64-434E-8E5F-7CAC5C3CE92D}" destId="{4DBF68E2-BE97-4107-8598-B63CF474EE95}" srcOrd="6" destOrd="0" presId="urn:microsoft.com/office/officeart/2005/8/layout/vList4"/>
    <dgm:cxn modelId="{E5463531-62DC-4AC1-80C7-8F3E71685BB3}" type="presParOf" srcId="{4DBF68E2-BE97-4107-8598-B63CF474EE95}" destId="{334A3BA9-C29E-4DCA-86ED-24F4750BCA26}" srcOrd="0" destOrd="0" presId="urn:microsoft.com/office/officeart/2005/8/layout/vList4"/>
    <dgm:cxn modelId="{E0624F0B-0B22-4EFD-A90A-AC70A50CC41A}" type="presParOf" srcId="{4DBF68E2-BE97-4107-8598-B63CF474EE95}" destId="{87183F32-D3ED-4E22-8AFB-A54DC7F4F918}" srcOrd="1" destOrd="0" presId="urn:microsoft.com/office/officeart/2005/8/layout/vList4"/>
    <dgm:cxn modelId="{47EF5729-8077-40D4-9284-0449E76E3140}" type="presParOf" srcId="{4DBF68E2-BE97-4107-8598-B63CF474EE95}" destId="{0ED01A96-7F8C-48C7-ADDB-A90991D33977}" srcOrd="2" destOrd="0" presId="urn:microsoft.com/office/officeart/2005/8/layout/vList4"/>
    <dgm:cxn modelId="{F9EE56D8-02E1-402E-889A-4DF96EE1EE7B}" type="presParOf" srcId="{9890A743-9F64-434E-8E5F-7CAC5C3CE92D}" destId="{E9BC61CB-A81F-4C37-9D93-B897AE00AB10}" srcOrd="7" destOrd="0" presId="urn:microsoft.com/office/officeart/2005/8/layout/vList4"/>
    <dgm:cxn modelId="{09811BCF-9466-431C-BA7F-C61A8C03A503}" type="presParOf" srcId="{9890A743-9F64-434E-8E5F-7CAC5C3CE92D}" destId="{32C151AA-E71C-468A-AEC1-8DDC2FC6BAC3}" srcOrd="8" destOrd="0" presId="urn:microsoft.com/office/officeart/2005/8/layout/vList4"/>
    <dgm:cxn modelId="{65D58A7B-2AC2-4389-9BE7-E13EDF3DAECC}" type="presParOf" srcId="{32C151AA-E71C-468A-AEC1-8DDC2FC6BAC3}" destId="{1181644A-2FB0-4225-A392-0F366DA1D30E}" srcOrd="0" destOrd="0" presId="urn:microsoft.com/office/officeart/2005/8/layout/vList4"/>
    <dgm:cxn modelId="{65CEA612-4D8A-42EE-A6BB-D2DA4F14F930}" type="presParOf" srcId="{32C151AA-E71C-468A-AEC1-8DDC2FC6BAC3}" destId="{C51DEB0E-C843-44BA-A8A6-E32A9060889F}" srcOrd="1" destOrd="0" presId="urn:microsoft.com/office/officeart/2005/8/layout/vList4"/>
    <dgm:cxn modelId="{ED1683FD-6545-4855-9C6D-EC6772A788C9}" type="presParOf" srcId="{32C151AA-E71C-468A-AEC1-8DDC2FC6BAC3}" destId="{CB10FADE-0E96-4FA5-B6F9-ABA3DE7FA00F}" srcOrd="2" destOrd="0" presId="urn:microsoft.com/office/officeart/2005/8/layout/vList4"/>
    <dgm:cxn modelId="{C401A417-363C-4AC2-924D-62444F6240FE}" type="presParOf" srcId="{9890A743-9F64-434E-8E5F-7CAC5C3CE92D}" destId="{83AEFCE9-BDAE-4F0B-A7AB-375FD7983339}" srcOrd="9" destOrd="0" presId="urn:microsoft.com/office/officeart/2005/8/layout/vList4"/>
    <dgm:cxn modelId="{4B6DA13B-DA6C-40BF-BCE9-797FC4D21E4F}" type="presParOf" srcId="{9890A743-9F64-434E-8E5F-7CAC5C3CE92D}" destId="{68A72570-2661-46CE-B9DA-5E31156B8CE0}" srcOrd="10" destOrd="0" presId="urn:microsoft.com/office/officeart/2005/8/layout/vList4"/>
    <dgm:cxn modelId="{DF1FB699-49E4-4643-9156-996190573A02}" type="presParOf" srcId="{68A72570-2661-46CE-B9DA-5E31156B8CE0}" destId="{4AD24150-C32F-4791-985B-001E8DB4C980}" srcOrd="0" destOrd="0" presId="urn:microsoft.com/office/officeart/2005/8/layout/vList4"/>
    <dgm:cxn modelId="{A0A9867E-8761-4CAB-8748-220C003EA4FD}" type="presParOf" srcId="{68A72570-2661-46CE-B9DA-5E31156B8CE0}" destId="{7D5E44CA-EE76-451C-BF29-4EF20ABC27FD}" srcOrd="1" destOrd="0" presId="urn:microsoft.com/office/officeart/2005/8/layout/vList4"/>
    <dgm:cxn modelId="{3A81AA9E-94A4-420D-8C15-38ABE19CA8E8}" type="presParOf" srcId="{68A72570-2661-46CE-B9DA-5E31156B8CE0}" destId="{3D70E6C2-7721-4172-84C1-CCDD23B55355}" srcOrd="2" destOrd="0" presId="urn:microsoft.com/office/officeart/2005/8/layout/vList4"/>
    <dgm:cxn modelId="{72FEDE07-ECD3-4AED-9E9B-71CA4D999F81}" type="presParOf" srcId="{9890A743-9F64-434E-8E5F-7CAC5C3CE92D}" destId="{181CF141-5BFB-4C58-882D-2EA012C42938}" srcOrd="11" destOrd="0" presId="urn:microsoft.com/office/officeart/2005/8/layout/vList4"/>
    <dgm:cxn modelId="{B7F4FC95-E62A-4F56-9B9A-D3792DBD2233}" type="presParOf" srcId="{9890A743-9F64-434E-8E5F-7CAC5C3CE92D}" destId="{D0365792-42C6-43F6-80A7-8DADD1F7D492}" srcOrd="12" destOrd="0" presId="urn:microsoft.com/office/officeart/2005/8/layout/vList4"/>
    <dgm:cxn modelId="{993E7683-B186-4FC8-927F-5A385380E6FA}" type="presParOf" srcId="{D0365792-42C6-43F6-80A7-8DADD1F7D492}" destId="{F5FB6E26-A59D-412C-9C04-514B79FE2D72}" srcOrd="0" destOrd="0" presId="urn:microsoft.com/office/officeart/2005/8/layout/vList4"/>
    <dgm:cxn modelId="{7569D818-04E1-4776-8C06-FCA5890BC2FF}" type="presParOf" srcId="{D0365792-42C6-43F6-80A7-8DADD1F7D492}" destId="{F889DE83-E50E-4034-B6F2-47C426ECB7BC}" srcOrd="1" destOrd="0" presId="urn:microsoft.com/office/officeart/2005/8/layout/vList4"/>
    <dgm:cxn modelId="{8BFAB15A-EDD2-441B-A2E9-BC6465FE46D4}" type="presParOf" srcId="{D0365792-42C6-43F6-80A7-8DADD1F7D492}" destId="{75F707EA-BEE9-43C9-87EC-C5DB871EFD6E}" srcOrd="2" destOrd="0" presId="urn:microsoft.com/office/officeart/2005/8/layout/vList4"/>
    <dgm:cxn modelId="{B6D58646-DCA4-4FD5-B32B-E652A61D986C}" type="presParOf" srcId="{9890A743-9F64-434E-8E5F-7CAC5C3CE92D}" destId="{2447CE56-3BFA-43F2-A353-4A63A19581BA}" srcOrd="13" destOrd="0" presId="urn:microsoft.com/office/officeart/2005/8/layout/vList4"/>
    <dgm:cxn modelId="{C0D6E278-CBE4-4557-96D2-8969E0A97435}" type="presParOf" srcId="{9890A743-9F64-434E-8E5F-7CAC5C3CE92D}" destId="{E75A3EBA-8199-4D13-8A29-AB839DEAA636}" srcOrd="14" destOrd="0" presId="urn:microsoft.com/office/officeart/2005/8/layout/vList4"/>
    <dgm:cxn modelId="{3409B705-99B4-409E-AF61-070C91734D95}" type="presParOf" srcId="{E75A3EBA-8199-4D13-8A29-AB839DEAA636}" destId="{6C9F2F60-952D-4F43-8B7C-470275D75919}" srcOrd="0" destOrd="0" presId="urn:microsoft.com/office/officeart/2005/8/layout/vList4"/>
    <dgm:cxn modelId="{7464D0A7-495C-4D82-BFDC-403B514CC6BF}" type="presParOf" srcId="{E75A3EBA-8199-4D13-8A29-AB839DEAA636}" destId="{63B77D97-B3F4-487D-B69B-A9ABF5EC90F7}" srcOrd="1" destOrd="0" presId="urn:microsoft.com/office/officeart/2005/8/layout/vList4"/>
    <dgm:cxn modelId="{89F10DB5-B554-450A-9AB4-2F14B15F76B2}" type="presParOf" srcId="{E75A3EBA-8199-4D13-8A29-AB839DEAA636}" destId="{FC7EAE75-1E81-44D8-A399-2AC98ACE4662}" srcOrd="2" destOrd="0" presId="urn:microsoft.com/office/officeart/2005/8/layout/vList4"/>
    <dgm:cxn modelId="{99D5345E-CE1C-4F30-AA3C-9CB3AF065864}" type="presParOf" srcId="{9890A743-9F64-434E-8E5F-7CAC5C3CE92D}" destId="{A55931B4-A4CA-44EC-A186-BB5F4A883888}" srcOrd="15" destOrd="0" presId="urn:microsoft.com/office/officeart/2005/8/layout/vList4"/>
    <dgm:cxn modelId="{E810B1FD-45DD-4116-BFC0-E8DCA09319D5}" type="presParOf" srcId="{9890A743-9F64-434E-8E5F-7CAC5C3CE92D}" destId="{0B3BF1D2-D4FD-4DBD-B11E-3599302B6F46}" srcOrd="16" destOrd="0" presId="urn:microsoft.com/office/officeart/2005/8/layout/vList4"/>
    <dgm:cxn modelId="{8F655C0B-1847-4107-AF2F-0D8867189F6F}" type="presParOf" srcId="{0B3BF1D2-D4FD-4DBD-B11E-3599302B6F46}" destId="{24A76ABF-68EC-4E83-A2E2-F0ABBB8905BC}" srcOrd="0" destOrd="0" presId="urn:microsoft.com/office/officeart/2005/8/layout/vList4"/>
    <dgm:cxn modelId="{6B25C467-1313-4EEA-9358-DB865C43470E}" type="presParOf" srcId="{0B3BF1D2-D4FD-4DBD-B11E-3599302B6F46}" destId="{1071C02A-772E-4D2D-9F94-BD831A6B7B7D}" srcOrd="1" destOrd="0" presId="urn:microsoft.com/office/officeart/2005/8/layout/vList4"/>
    <dgm:cxn modelId="{18CE1C52-B911-4565-8335-C9D14BDE1FED}" type="presParOf" srcId="{0B3BF1D2-D4FD-4DBD-B11E-3599302B6F46}" destId="{6F713AA6-2393-45D3-9E1E-0E7782FC9C60}" srcOrd="2" destOrd="0" presId="urn:microsoft.com/office/officeart/2005/8/layout/vList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BA92BE-C19C-4D5D-83C1-1A8E169AEB4D}"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81A8D18-3DAF-43BE-8A68-5832197852D5}">
      <dgm:prSet phldrT="[Text]"/>
      <dgm:spPr>
        <a:solidFill>
          <a:schemeClr val="accent3"/>
        </a:solidFill>
      </dgm:spPr>
      <dgm:t>
        <a:bodyPr/>
        <a:lstStyle/>
        <a:p>
          <a:r>
            <a:rPr lang="en-US" dirty="0" smtClean="0"/>
            <a:t>Data</a:t>
          </a:r>
        </a:p>
      </dgm:t>
    </dgm:pt>
    <dgm:pt modelId="{366D1E1A-B08E-436F-89B1-124A51B145A4}" type="parTrans" cxnId="{2371ABD2-4C61-47CF-B0B4-5FFFB43A762D}">
      <dgm:prSet/>
      <dgm:spPr/>
      <dgm:t>
        <a:bodyPr/>
        <a:lstStyle/>
        <a:p>
          <a:endParaRPr lang="en-US"/>
        </a:p>
      </dgm:t>
    </dgm:pt>
    <dgm:pt modelId="{2FF3A3DF-D720-492E-81E6-5F3431E1AB07}" type="sibTrans" cxnId="{2371ABD2-4C61-47CF-B0B4-5FFFB43A762D}">
      <dgm:prSet/>
      <dgm:spPr/>
      <dgm:t>
        <a:bodyPr/>
        <a:lstStyle/>
        <a:p>
          <a:endParaRPr lang="en-US"/>
        </a:p>
      </dgm:t>
    </dgm:pt>
    <dgm:pt modelId="{8E3F2692-23A7-4A81-A126-43EB3A915F34}">
      <dgm:prSet phldrT="[Text]"/>
      <dgm:spPr>
        <a:solidFill>
          <a:schemeClr val="accent3"/>
        </a:solidFill>
      </dgm:spPr>
      <dgm:t>
        <a:bodyPr/>
        <a:lstStyle/>
        <a:p>
          <a:r>
            <a:rPr lang="en-US" dirty="0" smtClean="0"/>
            <a:t>Application</a:t>
          </a:r>
          <a:endParaRPr lang="en-US" dirty="0"/>
        </a:p>
      </dgm:t>
    </dgm:pt>
    <dgm:pt modelId="{5D88043A-81F1-4A3B-9389-994FDC094794}" type="parTrans" cxnId="{0F9027D9-0E61-448F-AF2F-59EF4EBEE20C}">
      <dgm:prSet/>
      <dgm:spPr/>
      <dgm:t>
        <a:bodyPr/>
        <a:lstStyle/>
        <a:p>
          <a:endParaRPr lang="en-US"/>
        </a:p>
      </dgm:t>
    </dgm:pt>
    <dgm:pt modelId="{8DD6C965-FF4F-4943-9C91-96CBA7CF4486}" type="sibTrans" cxnId="{0F9027D9-0E61-448F-AF2F-59EF4EBEE20C}">
      <dgm:prSet/>
      <dgm:spPr/>
      <dgm:t>
        <a:bodyPr/>
        <a:lstStyle/>
        <a:p>
          <a:endParaRPr lang="en-US"/>
        </a:p>
      </dgm:t>
    </dgm:pt>
    <dgm:pt modelId="{4D1B3AE1-5189-47B7-B4ED-3F64B2BE422F}">
      <dgm:prSet phldrT="[Text]"/>
      <dgm:spPr/>
      <dgm:t>
        <a:bodyPr/>
        <a:lstStyle/>
        <a:p>
          <a:r>
            <a:rPr lang="en-US" dirty="0" smtClean="0"/>
            <a:t>Runtime</a:t>
          </a:r>
          <a:endParaRPr lang="en-US" dirty="0"/>
        </a:p>
      </dgm:t>
    </dgm:pt>
    <dgm:pt modelId="{F4FE66E1-40D1-4908-920D-537776CEB0CF}" type="parTrans" cxnId="{133FED2B-9345-4B0B-A59E-2C948F16BDA8}">
      <dgm:prSet/>
      <dgm:spPr/>
      <dgm:t>
        <a:bodyPr/>
        <a:lstStyle/>
        <a:p>
          <a:endParaRPr lang="en-US"/>
        </a:p>
      </dgm:t>
    </dgm:pt>
    <dgm:pt modelId="{03843359-02F4-4F7A-BEF6-DEDD33518297}" type="sibTrans" cxnId="{133FED2B-9345-4B0B-A59E-2C948F16BDA8}">
      <dgm:prSet/>
      <dgm:spPr/>
      <dgm:t>
        <a:bodyPr/>
        <a:lstStyle/>
        <a:p>
          <a:endParaRPr lang="en-US"/>
        </a:p>
      </dgm:t>
    </dgm:pt>
    <dgm:pt modelId="{236A9AD3-09EE-412D-988C-CE8AC6041363}">
      <dgm:prSet phldrT="[Text]"/>
      <dgm:spPr/>
      <dgm:t>
        <a:bodyPr/>
        <a:lstStyle/>
        <a:p>
          <a:r>
            <a:rPr lang="en-US" dirty="0" smtClean="0"/>
            <a:t>Middleware</a:t>
          </a:r>
          <a:endParaRPr lang="en-US" dirty="0"/>
        </a:p>
      </dgm:t>
    </dgm:pt>
    <dgm:pt modelId="{A3EFBBA8-473C-47F3-A17F-764883A41A37}" type="parTrans" cxnId="{DD56E4C3-5E44-414B-8FEC-0DBA27627032}">
      <dgm:prSet/>
      <dgm:spPr/>
      <dgm:t>
        <a:bodyPr/>
        <a:lstStyle/>
        <a:p>
          <a:endParaRPr lang="en-US"/>
        </a:p>
      </dgm:t>
    </dgm:pt>
    <dgm:pt modelId="{AC953FA7-1916-43A5-A991-C06D0224CC47}" type="sibTrans" cxnId="{DD56E4C3-5E44-414B-8FEC-0DBA27627032}">
      <dgm:prSet/>
      <dgm:spPr/>
      <dgm:t>
        <a:bodyPr/>
        <a:lstStyle/>
        <a:p>
          <a:endParaRPr lang="en-US"/>
        </a:p>
      </dgm:t>
    </dgm:pt>
    <dgm:pt modelId="{8D348E51-35E1-4A29-9C21-677152E8C41A}">
      <dgm:prSet phldrT="[Text]"/>
      <dgm:spPr/>
      <dgm:t>
        <a:bodyPr/>
        <a:lstStyle/>
        <a:p>
          <a:r>
            <a:rPr lang="en-US" dirty="0" smtClean="0"/>
            <a:t>O/S</a:t>
          </a:r>
          <a:endParaRPr lang="en-US" dirty="0"/>
        </a:p>
      </dgm:t>
    </dgm:pt>
    <dgm:pt modelId="{BBA80BB7-3340-4062-BBF1-D300AE49BA2B}" type="parTrans" cxnId="{C7467611-040A-4F6D-BF76-BD8D1AAA6F12}">
      <dgm:prSet/>
      <dgm:spPr/>
      <dgm:t>
        <a:bodyPr/>
        <a:lstStyle/>
        <a:p>
          <a:endParaRPr lang="en-US"/>
        </a:p>
      </dgm:t>
    </dgm:pt>
    <dgm:pt modelId="{5FE72B37-879D-4E83-B98F-AD100AECB936}" type="sibTrans" cxnId="{C7467611-040A-4F6D-BF76-BD8D1AAA6F12}">
      <dgm:prSet/>
      <dgm:spPr/>
      <dgm:t>
        <a:bodyPr/>
        <a:lstStyle/>
        <a:p>
          <a:endParaRPr lang="en-US"/>
        </a:p>
      </dgm:t>
    </dgm:pt>
    <dgm:pt modelId="{379D8648-56E6-49EB-AEAB-A465D845C1CD}">
      <dgm:prSet phldrT="[Text]"/>
      <dgm:spPr/>
      <dgm:t>
        <a:bodyPr/>
        <a:lstStyle/>
        <a:p>
          <a:r>
            <a:rPr lang="en-US" dirty="0" smtClean="0"/>
            <a:t>Virtualization</a:t>
          </a:r>
          <a:endParaRPr lang="en-US" dirty="0"/>
        </a:p>
      </dgm:t>
    </dgm:pt>
    <dgm:pt modelId="{12FBF733-B4E3-41B8-A91C-CB3997294B11}" type="parTrans" cxnId="{BF8A918C-EB99-4DFF-884A-8132553EEEDF}">
      <dgm:prSet/>
      <dgm:spPr/>
      <dgm:t>
        <a:bodyPr/>
        <a:lstStyle/>
        <a:p>
          <a:endParaRPr lang="en-US"/>
        </a:p>
      </dgm:t>
    </dgm:pt>
    <dgm:pt modelId="{8B7C66FF-DB30-46D1-8641-D30492BF79D4}" type="sibTrans" cxnId="{BF8A918C-EB99-4DFF-884A-8132553EEEDF}">
      <dgm:prSet/>
      <dgm:spPr/>
      <dgm:t>
        <a:bodyPr/>
        <a:lstStyle/>
        <a:p>
          <a:endParaRPr lang="en-US"/>
        </a:p>
      </dgm:t>
    </dgm:pt>
    <dgm:pt modelId="{D5EC79EC-CD02-4850-8A48-D728E7AC45E9}">
      <dgm:prSet phldrT="[Text]"/>
      <dgm:spPr/>
      <dgm:t>
        <a:bodyPr/>
        <a:lstStyle/>
        <a:p>
          <a:r>
            <a:rPr lang="en-US" dirty="0" smtClean="0"/>
            <a:t>Server</a:t>
          </a:r>
          <a:endParaRPr lang="en-US" dirty="0"/>
        </a:p>
      </dgm:t>
    </dgm:pt>
    <dgm:pt modelId="{C1E5B3EF-6338-458B-A23B-09127CF38BF6}" type="parTrans" cxnId="{70ACCBD7-46C6-4D03-83EF-03B7BE1D8F09}">
      <dgm:prSet/>
      <dgm:spPr/>
      <dgm:t>
        <a:bodyPr/>
        <a:lstStyle/>
        <a:p>
          <a:endParaRPr lang="en-US"/>
        </a:p>
      </dgm:t>
    </dgm:pt>
    <dgm:pt modelId="{1213BEB9-C6EA-46CA-B273-D2949B6FB5FB}" type="sibTrans" cxnId="{70ACCBD7-46C6-4D03-83EF-03B7BE1D8F09}">
      <dgm:prSet/>
      <dgm:spPr/>
      <dgm:t>
        <a:bodyPr/>
        <a:lstStyle/>
        <a:p>
          <a:endParaRPr lang="en-US"/>
        </a:p>
      </dgm:t>
    </dgm:pt>
    <dgm:pt modelId="{59795BEE-DDC0-4445-8973-0FCFA566EFBB}">
      <dgm:prSet phldrT="[Text]"/>
      <dgm:spPr/>
      <dgm:t>
        <a:bodyPr/>
        <a:lstStyle/>
        <a:p>
          <a:r>
            <a:rPr lang="en-US" dirty="0" smtClean="0"/>
            <a:t>Storage</a:t>
          </a:r>
          <a:endParaRPr lang="en-US" dirty="0"/>
        </a:p>
      </dgm:t>
    </dgm:pt>
    <dgm:pt modelId="{FCB64DF0-02B1-4910-8D2A-BCAC48E4B87F}" type="parTrans" cxnId="{E8EFBFED-9634-45C5-AF11-654E518F89C8}">
      <dgm:prSet/>
      <dgm:spPr/>
      <dgm:t>
        <a:bodyPr/>
        <a:lstStyle/>
        <a:p>
          <a:endParaRPr lang="en-US"/>
        </a:p>
      </dgm:t>
    </dgm:pt>
    <dgm:pt modelId="{E18280ED-0F23-4F22-BE08-23A93476C6A9}" type="sibTrans" cxnId="{E8EFBFED-9634-45C5-AF11-654E518F89C8}">
      <dgm:prSet/>
      <dgm:spPr/>
      <dgm:t>
        <a:bodyPr/>
        <a:lstStyle/>
        <a:p>
          <a:endParaRPr lang="en-US"/>
        </a:p>
      </dgm:t>
    </dgm:pt>
    <dgm:pt modelId="{CBB2B37F-907B-41D6-882E-601998B3C09D}">
      <dgm:prSet phldrT="[Text]"/>
      <dgm:spPr/>
      <dgm:t>
        <a:bodyPr/>
        <a:lstStyle/>
        <a:p>
          <a:r>
            <a:rPr lang="en-US" dirty="0" smtClean="0"/>
            <a:t>Networking</a:t>
          </a:r>
          <a:endParaRPr lang="en-US" dirty="0"/>
        </a:p>
      </dgm:t>
    </dgm:pt>
    <dgm:pt modelId="{339FC69F-ECB4-42D4-9ADF-FF328ACD1C95}" type="parTrans" cxnId="{D4B51728-62E4-4595-B050-3271684EE803}">
      <dgm:prSet/>
      <dgm:spPr/>
      <dgm:t>
        <a:bodyPr/>
        <a:lstStyle/>
        <a:p>
          <a:endParaRPr lang="en-US"/>
        </a:p>
      </dgm:t>
    </dgm:pt>
    <dgm:pt modelId="{C392CF23-84A2-4482-A209-41073BAF4998}" type="sibTrans" cxnId="{D4B51728-62E4-4595-B050-3271684EE803}">
      <dgm:prSet/>
      <dgm:spPr/>
      <dgm:t>
        <a:bodyPr/>
        <a:lstStyle/>
        <a:p>
          <a:endParaRPr lang="en-US"/>
        </a:p>
      </dgm:t>
    </dgm:pt>
    <dgm:pt modelId="{9890A743-9F64-434E-8E5F-7CAC5C3CE92D}" type="pres">
      <dgm:prSet presAssocID="{E7BA92BE-C19C-4D5D-83C1-1A8E169AEB4D}" presName="linear" presStyleCnt="0">
        <dgm:presLayoutVars>
          <dgm:dir/>
          <dgm:resizeHandles val="exact"/>
        </dgm:presLayoutVars>
      </dgm:prSet>
      <dgm:spPr/>
      <dgm:t>
        <a:bodyPr/>
        <a:lstStyle/>
        <a:p>
          <a:endParaRPr lang="en-US"/>
        </a:p>
      </dgm:t>
    </dgm:pt>
    <dgm:pt modelId="{13F83F6B-FFBD-4711-9B42-938486C9C82E}" type="pres">
      <dgm:prSet presAssocID="{681A8D18-3DAF-43BE-8A68-5832197852D5}" presName="comp" presStyleCnt="0"/>
      <dgm:spPr/>
    </dgm:pt>
    <dgm:pt modelId="{9C1EF2DA-F65E-4645-B83D-8F14A8FCA67E}" type="pres">
      <dgm:prSet presAssocID="{681A8D18-3DAF-43BE-8A68-5832197852D5}" presName="box" presStyleLbl="node1" presStyleIdx="0" presStyleCnt="9"/>
      <dgm:spPr/>
      <dgm:t>
        <a:bodyPr/>
        <a:lstStyle/>
        <a:p>
          <a:endParaRPr lang="en-US"/>
        </a:p>
      </dgm:t>
    </dgm:pt>
    <dgm:pt modelId="{4156E3C8-9705-4625-B954-1C5500EC1F7E}" type="pres">
      <dgm:prSet presAssocID="{681A8D18-3DAF-43BE-8A68-5832197852D5}" presName="img" presStyleLbl="fgImgPlace1" presStyleIdx="0" presStyleCnt="9"/>
      <dgm:spPr>
        <a:blipFill>
          <a:blip xmlns:r="http://schemas.openxmlformats.org/officeDocument/2006/relationships" r:embed="rId1">
            <a:extLst>
              <a:ext uri="{28A0092B-C50C-407E-A947-70E740481C1C}">
                <a14:useLocalDpi xmlns:a14="http://schemas.microsoft.com/office/drawing/2010/main" val="0"/>
              </a:ext>
            </a:extLst>
          </a:blip>
          <a:srcRect/>
          <a:stretch>
            <a:fillRect l="-40000" r="-40000"/>
          </a:stretch>
        </a:blipFill>
      </dgm:spPr>
    </dgm:pt>
    <dgm:pt modelId="{A35E4587-F488-43E9-8CD1-C8B26E193C7C}" type="pres">
      <dgm:prSet presAssocID="{681A8D18-3DAF-43BE-8A68-5832197852D5}" presName="text" presStyleLbl="node1" presStyleIdx="0" presStyleCnt="9">
        <dgm:presLayoutVars>
          <dgm:bulletEnabled val="1"/>
        </dgm:presLayoutVars>
      </dgm:prSet>
      <dgm:spPr/>
      <dgm:t>
        <a:bodyPr/>
        <a:lstStyle/>
        <a:p>
          <a:endParaRPr lang="en-US"/>
        </a:p>
      </dgm:t>
    </dgm:pt>
    <dgm:pt modelId="{62633356-FF5A-4277-9481-40645EA302E4}" type="pres">
      <dgm:prSet presAssocID="{2FF3A3DF-D720-492E-81E6-5F3431E1AB07}" presName="spacer" presStyleCnt="0"/>
      <dgm:spPr/>
    </dgm:pt>
    <dgm:pt modelId="{5F8B302A-627F-43CE-A59F-90BD795E0065}" type="pres">
      <dgm:prSet presAssocID="{8E3F2692-23A7-4A81-A126-43EB3A915F34}" presName="comp" presStyleCnt="0"/>
      <dgm:spPr/>
    </dgm:pt>
    <dgm:pt modelId="{ADA09EC6-3C6B-4D39-A241-991FD95E38CD}" type="pres">
      <dgm:prSet presAssocID="{8E3F2692-23A7-4A81-A126-43EB3A915F34}" presName="box" presStyleLbl="node1" presStyleIdx="1" presStyleCnt="9"/>
      <dgm:spPr/>
      <dgm:t>
        <a:bodyPr/>
        <a:lstStyle/>
        <a:p>
          <a:endParaRPr lang="en-US"/>
        </a:p>
      </dgm:t>
    </dgm:pt>
    <dgm:pt modelId="{EB05AED6-829D-4EFA-85B6-FD73F51E01B2}" type="pres">
      <dgm:prSet presAssocID="{8E3F2692-23A7-4A81-A126-43EB3A915F34}" presName="img" presStyleLbl="fgImgPlace1"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CE83B511-0EC8-48C9-AE34-D6DEA77229E2}" type="pres">
      <dgm:prSet presAssocID="{8E3F2692-23A7-4A81-A126-43EB3A915F34}" presName="text" presStyleLbl="node1" presStyleIdx="1" presStyleCnt="9">
        <dgm:presLayoutVars>
          <dgm:bulletEnabled val="1"/>
        </dgm:presLayoutVars>
      </dgm:prSet>
      <dgm:spPr/>
      <dgm:t>
        <a:bodyPr/>
        <a:lstStyle/>
        <a:p>
          <a:endParaRPr lang="en-US"/>
        </a:p>
      </dgm:t>
    </dgm:pt>
    <dgm:pt modelId="{8F3E4B39-8EE7-440B-BE0F-A9D2ACD77AD4}" type="pres">
      <dgm:prSet presAssocID="{8DD6C965-FF4F-4943-9C91-96CBA7CF4486}" presName="spacer" presStyleCnt="0"/>
      <dgm:spPr/>
    </dgm:pt>
    <dgm:pt modelId="{238DBC6B-7A33-4B0F-9EEB-5CE92B02E181}" type="pres">
      <dgm:prSet presAssocID="{4D1B3AE1-5189-47B7-B4ED-3F64B2BE422F}" presName="comp" presStyleCnt="0"/>
      <dgm:spPr/>
    </dgm:pt>
    <dgm:pt modelId="{DB45ECA9-392E-4ED2-ADD4-89C963A7B93A}" type="pres">
      <dgm:prSet presAssocID="{4D1B3AE1-5189-47B7-B4ED-3F64B2BE422F}" presName="box" presStyleLbl="node1" presStyleIdx="2" presStyleCnt="9"/>
      <dgm:spPr/>
      <dgm:t>
        <a:bodyPr/>
        <a:lstStyle/>
        <a:p>
          <a:endParaRPr lang="en-US"/>
        </a:p>
      </dgm:t>
    </dgm:pt>
    <dgm:pt modelId="{683FBB26-F1C2-46DC-BCB9-4B5B8948E2DF}" type="pres">
      <dgm:prSet presAssocID="{4D1B3AE1-5189-47B7-B4ED-3F64B2BE422F}" presName="img" presStyleLbl="fgImgPlace1" presStyleIdx="2" presStyleCnt="9"/>
      <dgm:spPr>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dgm:spPr>
    </dgm:pt>
    <dgm:pt modelId="{77C720F0-2FE9-4C17-AD5D-4D89AF57B423}" type="pres">
      <dgm:prSet presAssocID="{4D1B3AE1-5189-47B7-B4ED-3F64B2BE422F}" presName="text" presStyleLbl="node1" presStyleIdx="2" presStyleCnt="9">
        <dgm:presLayoutVars>
          <dgm:bulletEnabled val="1"/>
        </dgm:presLayoutVars>
      </dgm:prSet>
      <dgm:spPr/>
      <dgm:t>
        <a:bodyPr/>
        <a:lstStyle/>
        <a:p>
          <a:endParaRPr lang="en-US"/>
        </a:p>
      </dgm:t>
    </dgm:pt>
    <dgm:pt modelId="{66A2380A-F889-420A-8D71-535AA2498798}" type="pres">
      <dgm:prSet presAssocID="{03843359-02F4-4F7A-BEF6-DEDD33518297}" presName="spacer" presStyleCnt="0"/>
      <dgm:spPr/>
    </dgm:pt>
    <dgm:pt modelId="{4DBF68E2-BE97-4107-8598-B63CF474EE95}" type="pres">
      <dgm:prSet presAssocID="{236A9AD3-09EE-412D-988C-CE8AC6041363}" presName="comp" presStyleCnt="0"/>
      <dgm:spPr/>
    </dgm:pt>
    <dgm:pt modelId="{334A3BA9-C29E-4DCA-86ED-24F4750BCA26}" type="pres">
      <dgm:prSet presAssocID="{236A9AD3-09EE-412D-988C-CE8AC6041363}" presName="box" presStyleLbl="node1" presStyleIdx="3" presStyleCnt="9"/>
      <dgm:spPr/>
      <dgm:t>
        <a:bodyPr/>
        <a:lstStyle/>
        <a:p>
          <a:endParaRPr lang="en-US"/>
        </a:p>
      </dgm:t>
    </dgm:pt>
    <dgm:pt modelId="{87183F32-D3ED-4E22-8AFB-A54DC7F4F918}" type="pres">
      <dgm:prSet presAssocID="{236A9AD3-09EE-412D-988C-CE8AC6041363}" presName="img" presStyleLbl="fgImgPlace1" presStyleIdx="3" presStyleCnt="9"/>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0ED01A96-7F8C-48C7-ADDB-A90991D33977}" type="pres">
      <dgm:prSet presAssocID="{236A9AD3-09EE-412D-988C-CE8AC6041363}" presName="text" presStyleLbl="node1" presStyleIdx="3" presStyleCnt="9">
        <dgm:presLayoutVars>
          <dgm:bulletEnabled val="1"/>
        </dgm:presLayoutVars>
      </dgm:prSet>
      <dgm:spPr/>
      <dgm:t>
        <a:bodyPr/>
        <a:lstStyle/>
        <a:p>
          <a:endParaRPr lang="en-US"/>
        </a:p>
      </dgm:t>
    </dgm:pt>
    <dgm:pt modelId="{E9BC61CB-A81F-4C37-9D93-B897AE00AB10}" type="pres">
      <dgm:prSet presAssocID="{AC953FA7-1916-43A5-A991-C06D0224CC47}" presName="spacer" presStyleCnt="0"/>
      <dgm:spPr/>
    </dgm:pt>
    <dgm:pt modelId="{32C151AA-E71C-468A-AEC1-8DDC2FC6BAC3}" type="pres">
      <dgm:prSet presAssocID="{8D348E51-35E1-4A29-9C21-677152E8C41A}" presName="comp" presStyleCnt="0"/>
      <dgm:spPr/>
    </dgm:pt>
    <dgm:pt modelId="{1181644A-2FB0-4225-A392-0F366DA1D30E}" type="pres">
      <dgm:prSet presAssocID="{8D348E51-35E1-4A29-9C21-677152E8C41A}" presName="box" presStyleLbl="node1" presStyleIdx="4" presStyleCnt="9"/>
      <dgm:spPr/>
      <dgm:t>
        <a:bodyPr/>
        <a:lstStyle/>
        <a:p>
          <a:endParaRPr lang="en-US"/>
        </a:p>
      </dgm:t>
    </dgm:pt>
    <dgm:pt modelId="{C51DEB0E-C843-44BA-A8A6-E32A9060889F}" type="pres">
      <dgm:prSet presAssocID="{8D348E51-35E1-4A29-9C21-677152E8C41A}" presName="img" presStyleLbl="fgImgPlace1" presStyleIdx="4" presStyleCnt="9"/>
      <dgm:spPr>
        <a:blipFill>
          <a:blip xmlns:r="http://schemas.openxmlformats.org/officeDocument/2006/relationships" r:embed="rId5">
            <a:extLst>
              <a:ext uri="{28A0092B-C50C-407E-A947-70E740481C1C}">
                <a14:useLocalDpi xmlns:a14="http://schemas.microsoft.com/office/drawing/2010/main" val="0"/>
              </a:ext>
            </a:extLst>
          </a:blip>
          <a:srcRect/>
          <a:stretch>
            <a:fillRect l="-49000" r="-49000"/>
          </a:stretch>
        </a:blipFill>
      </dgm:spPr>
    </dgm:pt>
    <dgm:pt modelId="{CB10FADE-0E96-4FA5-B6F9-ABA3DE7FA00F}" type="pres">
      <dgm:prSet presAssocID="{8D348E51-35E1-4A29-9C21-677152E8C41A}" presName="text" presStyleLbl="node1" presStyleIdx="4" presStyleCnt="9">
        <dgm:presLayoutVars>
          <dgm:bulletEnabled val="1"/>
        </dgm:presLayoutVars>
      </dgm:prSet>
      <dgm:spPr/>
      <dgm:t>
        <a:bodyPr/>
        <a:lstStyle/>
        <a:p>
          <a:endParaRPr lang="en-US"/>
        </a:p>
      </dgm:t>
    </dgm:pt>
    <dgm:pt modelId="{83AEFCE9-BDAE-4F0B-A7AB-375FD7983339}" type="pres">
      <dgm:prSet presAssocID="{5FE72B37-879D-4E83-B98F-AD100AECB936}" presName="spacer" presStyleCnt="0"/>
      <dgm:spPr/>
    </dgm:pt>
    <dgm:pt modelId="{68A72570-2661-46CE-B9DA-5E31156B8CE0}" type="pres">
      <dgm:prSet presAssocID="{379D8648-56E6-49EB-AEAB-A465D845C1CD}" presName="comp" presStyleCnt="0"/>
      <dgm:spPr/>
    </dgm:pt>
    <dgm:pt modelId="{4AD24150-C32F-4791-985B-001E8DB4C980}" type="pres">
      <dgm:prSet presAssocID="{379D8648-56E6-49EB-AEAB-A465D845C1CD}" presName="box" presStyleLbl="node1" presStyleIdx="5" presStyleCnt="9"/>
      <dgm:spPr/>
      <dgm:t>
        <a:bodyPr/>
        <a:lstStyle/>
        <a:p>
          <a:endParaRPr lang="en-US"/>
        </a:p>
      </dgm:t>
    </dgm:pt>
    <dgm:pt modelId="{7D5E44CA-EE76-451C-BF29-4EF20ABC27FD}" type="pres">
      <dgm:prSet presAssocID="{379D8648-56E6-49EB-AEAB-A465D845C1CD}" presName="img" presStyleLbl="fgImgPlace1" presStyleIdx="5" presStyleCnt="9"/>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3D70E6C2-7721-4172-84C1-CCDD23B55355}" type="pres">
      <dgm:prSet presAssocID="{379D8648-56E6-49EB-AEAB-A465D845C1CD}" presName="text" presStyleLbl="node1" presStyleIdx="5" presStyleCnt="9">
        <dgm:presLayoutVars>
          <dgm:bulletEnabled val="1"/>
        </dgm:presLayoutVars>
      </dgm:prSet>
      <dgm:spPr/>
      <dgm:t>
        <a:bodyPr/>
        <a:lstStyle/>
        <a:p>
          <a:endParaRPr lang="en-US"/>
        </a:p>
      </dgm:t>
    </dgm:pt>
    <dgm:pt modelId="{181CF141-5BFB-4C58-882D-2EA012C42938}" type="pres">
      <dgm:prSet presAssocID="{8B7C66FF-DB30-46D1-8641-D30492BF79D4}" presName="spacer" presStyleCnt="0"/>
      <dgm:spPr/>
    </dgm:pt>
    <dgm:pt modelId="{D0365792-42C6-43F6-80A7-8DADD1F7D492}" type="pres">
      <dgm:prSet presAssocID="{D5EC79EC-CD02-4850-8A48-D728E7AC45E9}" presName="comp" presStyleCnt="0"/>
      <dgm:spPr/>
    </dgm:pt>
    <dgm:pt modelId="{F5FB6E26-A59D-412C-9C04-514B79FE2D72}" type="pres">
      <dgm:prSet presAssocID="{D5EC79EC-CD02-4850-8A48-D728E7AC45E9}" presName="box" presStyleLbl="node1" presStyleIdx="6" presStyleCnt="9"/>
      <dgm:spPr/>
      <dgm:t>
        <a:bodyPr/>
        <a:lstStyle/>
        <a:p>
          <a:endParaRPr lang="en-US"/>
        </a:p>
      </dgm:t>
    </dgm:pt>
    <dgm:pt modelId="{F889DE83-E50E-4034-B6F2-47C426ECB7BC}" type="pres">
      <dgm:prSet presAssocID="{D5EC79EC-CD02-4850-8A48-D728E7AC45E9}" presName="img" presStyleLbl="fgImgPlace1" presStyleIdx="6" presStyleCnt="9"/>
      <dgm:spPr>
        <a:blipFill>
          <a:blip xmlns:r="http://schemas.openxmlformats.org/officeDocument/2006/relationships" r:embed="rId7">
            <a:extLst>
              <a:ext uri="{28A0092B-C50C-407E-A947-70E740481C1C}">
                <a14:useLocalDpi xmlns:a14="http://schemas.microsoft.com/office/drawing/2010/main" val="0"/>
              </a:ext>
            </a:extLst>
          </a:blip>
          <a:srcRect/>
          <a:stretch>
            <a:fillRect t="-36000" b="-36000"/>
          </a:stretch>
        </a:blipFill>
      </dgm:spPr>
    </dgm:pt>
    <dgm:pt modelId="{75F707EA-BEE9-43C9-87EC-C5DB871EFD6E}" type="pres">
      <dgm:prSet presAssocID="{D5EC79EC-CD02-4850-8A48-D728E7AC45E9}" presName="text" presStyleLbl="node1" presStyleIdx="6" presStyleCnt="9">
        <dgm:presLayoutVars>
          <dgm:bulletEnabled val="1"/>
        </dgm:presLayoutVars>
      </dgm:prSet>
      <dgm:spPr/>
      <dgm:t>
        <a:bodyPr/>
        <a:lstStyle/>
        <a:p>
          <a:endParaRPr lang="en-US"/>
        </a:p>
      </dgm:t>
    </dgm:pt>
    <dgm:pt modelId="{2447CE56-3BFA-43F2-A353-4A63A19581BA}" type="pres">
      <dgm:prSet presAssocID="{1213BEB9-C6EA-46CA-B273-D2949B6FB5FB}" presName="spacer" presStyleCnt="0"/>
      <dgm:spPr/>
    </dgm:pt>
    <dgm:pt modelId="{E75A3EBA-8199-4D13-8A29-AB839DEAA636}" type="pres">
      <dgm:prSet presAssocID="{59795BEE-DDC0-4445-8973-0FCFA566EFBB}" presName="comp" presStyleCnt="0"/>
      <dgm:spPr/>
    </dgm:pt>
    <dgm:pt modelId="{6C9F2F60-952D-4F43-8B7C-470275D75919}" type="pres">
      <dgm:prSet presAssocID="{59795BEE-DDC0-4445-8973-0FCFA566EFBB}" presName="box" presStyleLbl="node1" presStyleIdx="7" presStyleCnt="9"/>
      <dgm:spPr/>
      <dgm:t>
        <a:bodyPr/>
        <a:lstStyle/>
        <a:p>
          <a:endParaRPr lang="en-US"/>
        </a:p>
      </dgm:t>
    </dgm:pt>
    <dgm:pt modelId="{63B77D97-B3F4-487D-B69B-A9ABF5EC90F7}" type="pres">
      <dgm:prSet presAssocID="{59795BEE-DDC0-4445-8973-0FCFA566EFBB}" presName="img" presStyleLbl="fgImgPlace1" presStyleIdx="7" presStyleCnt="9"/>
      <dgm:spPr>
        <a:blipFill>
          <a:blip xmlns:r="http://schemas.openxmlformats.org/officeDocument/2006/relationships" r:embed="rId8">
            <a:extLst>
              <a:ext uri="{28A0092B-C50C-407E-A947-70E740481C1C}">
                <a14:useLocalDpi xmlns:a14="http://schemas.microsoft.com/office/drawing/2010/main" val="0"/>
              </a:ext>
            </a:extLst>
          </a:blip>
          <a:srcRect/>
          <a:stretch>
            <a:fillRect l="-10000" r="-10000"/>
          </a:stretch>
        </a:blipFill>
      </dgm:spPr>
    </dgm:pt>
    <dgm:pt modelId="{FC7EAE75-1E81-44D8-A399-2AC98ACE4662}" type="pres">
      <dgm:prSet presAssocID="{59795BEE-DDC0-4445-8973-0FCFA566EFBB}" presName="text" presStyleLbl="node1" presStyleIdx="7" presStyleCnt="9">
        <dgm:presLayoutVars>
          <dgm:bulletEnabled val="1"/>
        </dgm:presLayoutVars>
      </dgm:prSet>
      <dgm:spPr/>
      <dgm:t>
        <a:bodyPr/>
        <a:lstStyle/>
        <a:p>
          <a:endParaRPr lang="en-US"/>
        </a:p>
      </dgm:t>
    </dgm:pt>
    <dgm:pt modelId="{A55931B4-A4CA-44EC-A186-BB5F4A883888}" type="pres">
      <dgm:prSet presAssocID="{E18280ED-0F23-4F22-BE08-23A93476C6A9}" presName="spacer" presStyleCnt="0"/>
      <dgm:spPr/>
    </dgm:pt>
    <dgm:pt modelId="{0B3BF1D2-D4FD-4DBD-B11E-3599302B6F46}" type="pres">
      <dgm:prSet presAssocID="{CBB2B37F-907B-41D6-882E-601998B3C09D}" presName="comp" presStyleCnt="0"/>
      <dgm:spPr/>
    </dgm:pt>
    <dgm:pt modelId="{24A76ABF-68EC-4E83-A2E2-F0ABBB8905BC}" type="pres">
      <dgm:prSet presAssocID="{CBB2B37F-907B-41D6-882E-601998B3C09D}" presName="box" presStyleLbl="node1" presStyleIdx="8" presStyleCnt="9"/>
      <dgm:spPr/>
      <dgm:t>
        <a:bodyPr/>
        <a:lstStyle/>
        <a:p>
          <a:endParaRPr lang="en-US"/>
        </a:p>
      </dgm:t>
    </dgm:pt>
    <dgm:pt modelId="{1071C02A-772E-4D2D-9F94-BD831A6B7B7D}" type="pres">
      <dgm:prSet presAssocID="{CBB2B37F-907B-41D6-882E-601998B3C09D}" presName="img" presStyleLbl="fgImgPlace1" presStyleIdx="8" presStyleCnt="9"/>
      <dgm:spPr>
        <a:blipFill>
          <a:blip xmlns:r="http://schemas.openxmlformats.org/officeDocument/2006/relationships" r:embed="rId9">
            <a:extLst>
              <a:ext uri="{28A0092B-C50C-407E-A947-70E740481C1C}">
                <a14:useLocalDpi xmlns:a14="http://schemas.microsoft.com/office/drawing/2010/main" val="0"/>
              </a:ext>
            </a:extLst>
          </a:blip>
          <a:srcRect/>
          <a:stretch>
            <a:fillRect l="-24000" r="-24000"/>
          </a:stretch>
        </a:blipFill>
      </dgm:spPr>
    </dgm:pt>
    <dgm:pt modelId="{6F713AA6-2393-45D3-9E1E-0E7782FC9C60}" type="pres">
      <dgm:prSet presAssocID="{CBB2B37F-907B-41D6-882E-601998B3C09D}" presName="text" presStyleLbl="node1" presStyleIdx="8" presStyleCnt="9">
        <dgm:presLayoutVars>
          <dgm:bulletEnabled val="1"/>
        </dgm:presLayoutVars>
      </dgm:prSet>
      <dgm:spPr/>
      <dgm:t>
        <a:bodyPr/>
        <a:lstStyle/>
        <a:p>
          <a:endParaRPr lang="en-US"/>
        </a:p>
      </dgm:t>
    </dgm:pt>
  </dgm:ptLst>
  <dgm:cxnLst>
    <dgm:cxn modelId="{C0237EAB-EFA7-41DB-B93C-0913E8FE3095}" type="presOf" srcId="{8E3F2692-23A7-4A81-A126-43EB3A915F34}" destId="{CE83B511-0EC8-48C9-AE34-D6DEA77229E2}" srcOrd="1" destOrd="0" presId="urn:microsoft.com/office/officeart/2005/8/layout/vList4"/>
    <dgm:cxn modelId="{B562503F-61C1-408F-A769-609CE4C05F45}" type="presOf" srcId="{D5EC79EC-CD02-4850-8A48-D728E7AC45E9}" destId="{F5FB6E26-A59D-412C-9C04-514B79FE2D72}" srcOrd="0" destOrd="0" presId="urn:microsoft.com/office/officeart/2005/8/layout/vList4"/>
    <dgm:cxn modelId="{42405756-489D-4991-B048-25FAAAAB230A}" type="presOf" srcId="{D5EC79EC-CD02-4850-8A48-D728E7AC45E9}" destId="{75F707EA-BEE9-43C9-87EC-C5DB871EFD6E}" srcOrd="1" destOrd="0" presId="urn:microsoft.com/office/officeart/2005/8/layout/vList4"/>
    <dgm:cxn modelId="{B515E2D3-68BC-42EF-A357-E2727BCEB71E}" type="presOf" srcId="{681A8D18-3DAF-43BE-8A68-5832197852D5}" destId="{A35E4587-F488-43E9-8CD1-C8B26E193C7C}" srcOrd="1" destOrd="0" presId="urn:microsoft.com/office/officeart/2005/8/layout/vList4"/>
    <dgm:cxn modelId="{C7467611-040A-4F6D-BF76-BD8D1AAA6F12}" srcId="{E7BA92BE-C19C-4D5D-83C1-1A8E169AEB4D}" destId="{8D348E51-35E1-4A29-9C21-677152E8C41A}" srcOrd="4" destOrd="0" parTransId="{BBA80BB7-3340-4062-BBF1-D300AE49BA2B}" sibTransId="{5FE72B37-879D-4E83-B98F-AD100AECB936}"/>
    <dgm:cxn modelId="{AA19C929-15BC-47C6-9FBD-0683BDB4D4EF}" type="presOf" srcId="{4D1B3AE1-5189-47B7-B4ED-3F64B2BE422F}" destId="{77C720F0-2FE9-4C17-AD5D-4D89AF57B423}" srcOrd="1" destOrd="0" presId="urn:microsoft.com/office/officeart/2005/8/layout/vList4"/>
    <dgm:cxn modelId="{70ACCBD7-46C6-4D03-83EF-03B7BE1D8F09}" srcId="{E7BA92BE-C19C-4D5D-83C1-1A8E169AEB4D}" destId="{D5EC79EC-CD02-4850-8A48-D728E7AC45E9}" srcOrd="6" destOrd="0" parTransId="{C1E5B3EF-6338-458B-A23B-09127CF38BF6}" sibTransId="{1213BEB9-C6EA-46CA-B273-D2949B6FB5FB}"/>
    <dgm:cxn modelId="{E8CB9481-B151-4701-BD14-F9FA2DBA20FB}" type="presOf" srcId="{59795BEE-DDC0-4445-8973-0FCFA566EFBB}" destId="{6C9F2F60-952D-4F43-8B7C-470275D75919}" srcOrd="0" destOrd="0" presId="urn:microsoft.com/office/officeart/2005/8/layout/vList4"/>
    <dgm:cxn modelId="{2371ABD2-4C61-47CF-B0B4-5FFFB43A762D}" srcId="{E7BA92BE-C19C-4D5D-83C1-1A8E169AEB4D}" destId="{681A8D18-3DAF-43BE-8A68-5832197852D5}" srcOrd="0" destOrd="0" parTransId="{366D1E1A-B08E-436F-89B1-124A51B145A4}" sibTransId="{2FF3A3DF-D720-492E-81E6-5F3431E1AB07}"/>
    <dgm:cxn modelId="{5719A3A0-EC4A-4C61-BF21-7E3150E00C06}" type="presOf" srcId="{379D8648-56E6-49EB-AEAB-A465D845C1CD}" destId="{4AD24150-C32F-4791-985B-001E8DB4C980}" srcOrd="0" destOrd="0" presId="urn:microsoft.com/office/officeart/2005/8/layout/vList4"/>
    <dgm:cxn modelId="{FA5D55E1-B04B-40A4-B2C1-8DCF2E030C69}" type="presOf" srcId="{379D8648-56E6-49EB-AEAB-A465D845C1CD}" destId="{3D70E6C2-7721-4172-84C1-CCDD23B55355}" srcOrd="1" destOrd="0" presId="urn:microsoft.com/office/officeart/2005/8/layout/vList4"/>
    <dgm:cxn modelId="{0F9027D9-0E61-448F-AF2F-59EF4EBEE20C}" srcId="{E7BA92BE-C19C-4D5D-83C1-1A8E169AEB4D}" destId="{8E3F2692-23A7-4A81-A126-43EB3A915F34}" srcOrd="1" destOrd="0" parTransId="{5D88043A-81F1-4A3B-9389-994FDC094794}" sibTransId="{8DD6C965-FF4F-4943-9C91-96CBA7CF4486}"/>
    <dgm:cxn modelId="{D4B51728-62E4-4595-B050-3271684EE803}" srcId="{E7BA92BE-C19C-4D5D-83C1-1A8E169AEB4D}" destId="{CBB2B37F-907B-41D6-882E-601998B3C09D}" srcOrd="8" destOrd="0" parTransId="{339FC69F-ECB4-42D4-9ADF-FF328ACD1C95}" sibTransId="{C392CF23-84A2-4482-A209-41073BAF4998}"/>
    <dgm:cxn modelId="{F09D1C3C-A02F-46C4-8971-D0F9DB1A771B}" type="presOf" srcId="{4D1B3AE1-5189-47B7-B4ED-3F64B2BE422F}" destId="{DB45ECA9-392E-4ED2-ADD4-89C963A7B93A}" srcOrd="0" destOrd="0" presId="urn:microsoft.com/office/officeart/2005/8/layout/vList4"/>
    <dgm:cxn modelId="{55D08E52-0296-4324-81E9-797487B739CF}" type="presOf" srcId="{8D348E51-35E1-4A29-9C21-677152E8C41A}" destId="{CB10FADE-0E96-4FA5-B6F9-ABA3DE7FA00F}" srcOrd="1" destOrd="0" presId="urn:microsoft.com/office/officeart/2005/8/layout/vList4"/>
    <dgm:cxn modelId="{5B9D5534-8752-489F-A159-FD0E09C03BE2}" type="presOf" srcId="{236A9AD3-09EE-412D-988C-CE8AC6041363}" destId="{0ED01A96-7F8C-48C7-ADDB-A90991D33977}" srcOrd="1" destOrd="0" presId="urn:microsoft.com/office/officeart/2005/8/layout/vList4"/>
    <dgm:cxn modelId="{CCD5CC0D-EDD3-4370-90CB-6D111BAD9C18}" type="presOf" srcId="{CBB2B37F-907B-41D6-882E-601998B3C09D}" destId="{6F713AA6-2393-45D3-9E1E-0E7782FC9C60}" srcOrd="1" destOrd="0" presId="urn:microsoft.com/office/officeart/2005/8/layout/vList4"/>
    <dgm:cxn modelId="{4D12CBA6-2C23-47B4-8079-7568A1799513}" type="presOf" srcId="{8E3F2692-23A7-4A81-A126-43EB3A915F34}" destId="{ADA09EC6-3C6B-4D39-A241-991FD95E38CD}" srcOrd="0" destOrd="0" presId="urn:microsoft.com/office/officeart/2005/8/layout/vList4"/>
    <dgm:cxn modelId="{8628D5A5-0606-46A7-AC44-75A4E33D122D}" type="presOf" srcId="{8D348E51-35E1-4A29-9C21-677152E8C41A}" destId="{1181644A-2FB0-4225-A392-0F366DA1D30E}" srcOrd="0" destOrd="0" presId="urn:microsoft.com/office/officeart/2005/8/layout/vList4"/>
    <dgm:cxn modelId="{184B6692-E198-483C-BF5C-F5D29EEDAA52}" type="presOf" srcId="{59795BEE-DDC0-4445-8973-0FCFA566EFBB}" destId="{FC7EAE75-1E81-44D8-A399-2AC98ACE4662}" srcOrd="1" destOrd="0" presId="urn:microsoft.com/office/officeart/2005/8/layout/vList4"/>
    <dgm:cxn modelId="{23EEE4E9-EEE0-49D6-A7DD-DEC9D612983A}" type="presOf" srcId="{CBB2B37F-907B-41D6-882E-601998B3C09D}" destId="{24A76ABF-68EC-4E83-A2E2-F0ABBB8905BC}" srcOrd="0" destOrd="0" presId="urn:microsoft.com/office/officeart/2005/8/layout/vList4"/>
    <dgm:cxn modelId="{E8EFBFED-9634-45C5-AF11-654E518F89C8}" srcId="{E7BA92BE-C19C-4D5D-83C1-1A8E169AEB4D}" destId="{59795BEE-DDC0-4445-8973-0FCFA566EFBB}" srcOrd="7" destOrd="0" parTransId="{FCB64DF0-02B1-4910-8D2A-BCAC48E4B87F}" sibTransId="{E18280ED-0F23-4F22-BE08-23A93476C6A9}"/>
    <dgm:cxn modelId="{A2AB4ADB-C229-4C3E-B510-6ADDEEFF79DD}" type="presOf" srcId="{681A8D18-3DAF-43BE-8A68-5832197852D5}" destId="{9C1EF2DA-F65E-4645-B83D-8F14A8FCA67E}" srcOrd="0" destOrd="0" presId="urn:microsoft.com/office/officeart/2005/8/layout/vList4"/>
    <dgm:cxn modelId="{BF8A918C-EB99-4DFF-884A-8132553EEEDF}" srcId="{E7BA92BE-C19C-4D5D-83C1-1A8E169AEB4D}" destId="{379D8648-56E6-49EB-AEAB-A465D845C1CD}" srcOrd="5" destOrd="0" parTransId="{12FBF733-B4E3-41B8-A91C-CB3997294B11}" sibTransId="{8B7C66FF-DB30-46D1-8641-D30492BF79D4}"/>
    <dgm:cxn modelId="{133FED2B-9345-4B0B-A59E-2C948F16BDA8}" srcId="{E7BA92BE-C19C-4D5D-83C1-1A8E169AEB4D}" destId="{4D1B3AE1-5189-47B7-B4ED-3F64B2BE422F}" srcOrd="2" destOrd="0" parTransId="{F4FE66E1-40D1-4908-920D-537776CEB0CF}" sibTransId="{03843359-02F4-4F7A-BEF6-DEDD33518297}"/>
    <dgm:cxn modelId="{570C1FDF-3AF1-4167-AD9F-061340BDBF0A}" type="presOf" srcId="{236A9AD3-09EE-412D-988C-CE8AC6041363}" destId="{334A3BA9-C29E-4DCA-86ED-24F4750BCA26}" srcOrd="0" destOrd="0" presId="urn:microsoft.com/office/officeart/2005/8/layout/vList4"/>
    <dgm:cxn modelId="{32939BDA-EF9A-4E73-A710-01B488E9E2B1}" type="presOf" srcId="{E7BA92BE-C19C-4D5D-83C1-1A8E169AEB4D}" destId="{9890A743-9F64-434E-8E5F-7CAC5C3CE92D}" srcOrd="0" destOrd="0" presId="urn:microsoft.com/office/officeart/2005/8/layout/vList4"/>
    <dgm:cxn modelId="{DD56E4C3-5E44-414B-8FEC-0DBA27627032}" srcId="{E7BA92BE-C19C-4D5D-83C1-1A8E169AEB4D}" destId="{236A9AD3-09EE-412D-988C-CE8AC6041363}" srcOrd="3" destOrd="0" parTransId="{A3EFBBA8-473C-47F3-A17F-764883A41A37}" sibTransId="{AC953FA7-1916-43A5-A991-C06D0224CC47}"/>
    <dgm:cxn modelId="{22204E35-5E49-4C29-872A-2020586AA988}" type="presParOf" srcId="{9890A743-9F64-434E-8E5F-7CAC5C3CE92D}" destId="{13F83F6B-FFBD-4711-9B42-938486C9C82E}" srcOrd="0" destOrd="0" presId="urn:microsoft.com/office/officeart/2005/8/layout/vList4"/>
    <dgm:cxn modelId="{98DF00DE-153E-493E-B7B1-416B3EE855CE}" type="presParOf" srcId="{13F83F6B-FFBD-4711-9B42-938486C9C82E}" destId="{9C1EF2DA-F65E-4645-B83D-8F14A8FCA67E}" srcOrd="0" destOrd="0" presId="urn:microsoft.com/office/officeart/2005/8/layout/vList4"/>
    <dgm:cxn modelId="{9F6DDF12-9455-4F19-8E41-0074777990F4}" type="presParOf" srcId="{13F83F6B-FFBD-4711-9B42-938486C9C82E}" destId="{4156E3C8-9705-4625-B954-1C5500EC1F7E}" srcOrd="1" destOrd="0" presId="urn:microsoft.com/office/officeart/2005/8/layout/vList4"/>
    <dgm:cxn modelId="{EBB90353-9043-4E9D-8C54-38C0625375C7}" type="presParOf" srcId="{13F83F6B-FFBD-4711-9B42-938486C9C82E}" destId="{A35E4587-F488-43E9-8CD1-C8B26E193C7C}" srcOrd="2" destOrd="0" presId="urn:microsoft.com/office/officeart/2005/8/layout/vList4"/>
    <dgm:cxn modelId="{3058B343-D129-47A1-9416-A090532F7BDE}" type="presParOf" srcId="{9890A743-9F64-434E-8E5F-7CAC5C3CE92D}" destId="{62633356-FF5A-4277-9481-40645EA302E4}" srcOrd="1" destOrd="0" presId="urn:microsoft.com/office/officeart/2005/8/layout/vList4"/>
    <dgm:cxn modelId="{E9BFC109-1F2E-4788-BC1C-2A57063BD74A}" type="presParOf" srcId="{9890A743-9F64-434E-8E5F-7CAC5C3CE92D}" destId="{5F8B302A-627F-43CE-A59F-90BD795E0065}" srcOrd="2" destOrd="0" presId="urn:microsoft.com/office/officeart/2005/8/layout/vList4"/>
    <dgm:cxn modelId="{D2E0689E-FB8C-4BC3-8B20-9977BC0FD504}" type="presParOf" srcId="{5F8B302A-627F-43CE-A59F-90BD795E0065}" destId="{ADA09EC6-3C6B-4D39-A241-991FD95E38CD}" srcOrd="0" destOrd="0" presId="urn:microsoft.com/office/officeart/2005/8/layout/vList4"/>
    <dgm:cxn modelId="{8D7CE770-78E9-47B2-96E4-B006346A7CF8}" type="presParOf" srcId="{5F8B302A-627F-43CE-A59F-90BD795E0065}" destId="{EB05AED6-829D-4EFA-85B6-FD73F51E01B2}" srcOrd="1" destOrd="0" presId="urn:microsoft.com/office/officeart/2005/8/layout/vList4"/>
    <dgm:cxn modelId="{B0AB2B80-CFD9-421A-8397-E790D46AE7BD}" type="presParOf" srcId="{5F8B302A-627F-43CE-A59F-90BD795E0065}" destId="{CE83B511-0EC8-48C9-AE34-D6DEA77229E2}" srcOrd="2" destOrd="0" presId="urn:microsoft.com/office/officeart/2005/8/layout/vList4"/>
    <dgm:cxn modelId="{ABBB2287-7E27-43E1-8513-7C9C314A644E}" type="presParOf" srcId="{9890A743-9F64-434E-8E5F-7CAC5C3CE92D}" destId="{8F3E4B39-8EE7-440B-BE0F-A9D2ACD77AD4}" srcOrd="3" destOrd="0" presId="urn:microsoft.com/office/officeart/2005/8/layout/vList4"/>
    <dgm:cxn modelId="{BC8ACC9B-385B-4944-A7DE-FEB8674E33B1}" type="presParOf" srcId="{9890A743-9F64-434E-8E5F-7CAC5C3CE92D}" destId="{238DBC6B-7A33-4B0F-9EEB-5CE92B02E181}" srcOrd="4" destOrd="0" presId="urn:microsoft.com/office/officeart/2005/8/layout/vList4"/>
    <dgm:cxn modelId="{9E096606-F073-4720-A020-ECFA3FEAE785}" type="presParOf" srcId="{238DBC6B-7A33-4B0F-9EEB-5CE92B02E181}" destId="{DB45ECA9-392E-4ED2-ADD4-89C963A7B93A}" srcOrd="0" destOrd="0" presId="urn:microsoft.com/office/officeart/2005/8/layout/vList4"/>
    <dgm:cxn modelId="{717B10E8-7DE4-45CC-887B-07BA7F474FD4}" type="presParOf" srcId="{238DBC6B-7A33-4B0F-9EEB-5CE92B02E181}" destId="{683FBB26-F1C2-46DC-BCB9-4B5B8948E2DF}" srcOrd="1" destOrd="0" presId="urn:microsoft.com/office/officeart/2005/8/layout/vList4"/>
    <dgm:cxn modelId="{422B49A3-F68C-4991-B837-B2B0BA4B8284}" type="presParOf" srcId="{238DBC6B-7A33-4B0F-9EEB-5CE92B02E181}" destId="{77C720F0-2FE9-4C17-AD5D-4D89AF57B423}" srcOrd="2" destOrd="0" presId="urn:microsoft.com/office/officeart/2005/8/layout/vList4"/>
    <dgm:cxn modelId="{753A8018-4668-4E4C-B731-50CFB99224E1}" type="presParOf" srcId="{9890A743-9F64-434E-8E5F-7CAC5C3CE92D}" destId="{66A2380A-F889-420A-8D71-535AA2498798}" srcOrd="5" destOrd="0" presId="urn:microsoft.com/office/officeart/2005/8/layout/vList4"/>
    <dgm:cxn modelId="{B971CFFC-E313-4E72-8E1E-CA1ADDDF7B8F}" type="presParOf" srcId="{9890A743-9F64-434E-8E5F-7CAC5C3CE92D}" destId="{4DBF68E2-BE97-4107-8598-B63CF474EE95}" srcOrd="6" destOrd="0" presId="urn:microsoft.com/office/officeart/2005/8/layout/vList4"/>
    <dgm:cxn modelId="{BD4C095E-8F4B-46F2-9253-3A090D6F0EF7}" type="presParOf" srcId="{4DBF68E2-BE97-4107-8598-B63CF474EE95}" destId="{334A3BA9-C29E-4DCA-86ED-24F4750BCA26}" srcOrd="0" destOrd="0" presId="urn:microsoft.com/office/officeart/2005/8/layout/vList4"/>
    <dgm:cxn modelId="{560CF246-3D31-436C-9797-6B0474FE31A8}" type="presParOf" srcId="{4DBF68E2-BE97-4107-8598-B63CF474EE95}" destId="{87183F32-D3ED-4E22-8AFB-A54DC7F4F918}" srcOrd="1" destOrd="0" presId="urn:microsoft.com/office/officeart/2005/8/layout/vList4"/>
    <dgm:cxn modelId="{EC5B586D-240F-4137-A3E6-092767E296C8}" type="presParOf" srcId="{4DBF68E2-BE97-4107-8598-B63CF474EE95}" destId="{0ED01A96-7F8C-48C7-ADDB-A90991D33977}" srcOrd="2" destOrd="0" presId="urn:microsoft.com/office/officeart/2005/8/layout/vList4"/>
    <dgm:cxn modelId="{329C0ACE-B6F9-4980-9727-910658E91DD8}" type="presParOf" srcId="{9890A743-9F64-434E-8E5F-7CAC5C3CE92D}" destId="{E9BC61CB-A81F-4C37-9D93-B897AE00AB10}" srcOrd="7" destOrd="0" presId="urn:microsoft.com/office/officeart/2005/8/layout/vList4"/>
    <dgm:cxn modelId="{D6117528-AED3-452D-8377-F7FFEF1B7CBF}" type="presParOf" srcId="{9890A743-9F64-434E-8E5F-7CAC5C3CE92D}" destId="{32C151AA-E71C-468A-AEC1-8DDC2FC6BAC3}" srcOrd="8" destOrd="0" presId="urn:microsoft.com/office/officeart/2005/8/layout/vList4"/>
    <dgm:cxn modelId="{900D5F02-BBAC-41FC-A16C-44490E2113D2}" type="presParOf" srcId="{32C151AA-E71C-468A-AEC1-8DDC2FC6BAC3}" destId="{1181644A-2FB0-4225-A392-0F366DA1D30E}" srcOrd="0" destOrd="0" presId="urn:microsoft.com/office/officeart/2005/8/layout/vList4"/>
    <dgm:cxn modelId="{136F3891-66E1-4580-A589-BA0FB373A0CA}" type="presParOf" srcId="{32C151AA-E71C-468A-AEC1-8DDC2FC6BAC3}" destId="{C51DEB0E-C843-44BA-A8A6-E32A9060889F}" srcOrd="1" destOrd="0" presId="urn:microsoft.com/office/officeart/2005/8/layout/vList4"/>
    <dgm:cxn modelId="{166308B0-AEBD-4932-B4CA-8153D62ED58D}" type="presParOf" srcId="{32C151AA-E71C-468A-AEC1-8DDC2FC6BAC3}" destId="{CB10FADE-0E96-4FA5-B6F9-ABA3DE7FA00F}" srcOrd="2" destOrd="0" presId="urn:microsoft.com/office/officeart/2005/8/layout/vList4"/>
    <dgm:cxn modelId="{4B4440E9-421E-4145-ABE8-30179A743359}" type="presParOf" srcId="{9890A743-9F64-434E-8E5F-7CAC5C3CE92D}" destId="{83AEFCE9-BDAE-4F0B-A7AB-375FD7983339}" srcOrd="9" destOrd="0" presId="urn:microsoft.com/office/officeart/2005/8/layout/vList4"/>
    <dgm:cxn modelId="{2825EBEE-D951-43F2-B8AC-A7FCC47BECD8}" type="presParOf" srcId="{9890A743-9F64-434E-8E5F-7CAC5C3CE92D}" destId="{68A72570-2661-46CE-B9DA-5E31156B8CE0}" srcOrd="10" destOrd="0" presId="urn:microsoft.com/office/officeart/2005/8/layout/vList4"/>
    <dgm:cxn modelId="{796DA49D-F990-4E63-9350-338BFB9D295C}" type="presParOf" srcId="{68A72570-2661-46CE-B9DA-5E31156B8CE0}" destId="{4AD24150-C32F-4791-985B-001E8DB4C980}" srcOrd="0" destOrd="0" presId="urn:microsoft.com/office/officeart/2005/8/layout/vList4"/>
    <dgm:cxn modelId="{DCDA31CD-C4C7-494A-8DA3-ACADA6901DF5}" type="presParOf" srcId="{68A72570-2661-46CE-B9DA-5E31156B8CE0}" destId="{7D5E44CA-EE76-451C-BF29-4EF20ABC27FD}" srcOrd="1" destOrd="0" presId="urn:microsoft.com/office/officeart/2005/8/layout/vList4"/>
    <dgm:cxn modelId="{249585E8-6732-46A0-B38A-DEFFE5EFFBD6}" type="presParOf" srcId="{68A72570-2661-46CE-B9DA-5E31156B8CE0}" destId="{3D70E6C2-7721-4172-84C1-CCDD23B55355}" srcOrd="2" destOrd="0" presId="urn:microsoft.com/office/officeart/2005/8/layout/vList4"/>
    <dgm:cxn modelId="{F0388EAD-1E0A-45D7-890F-F8751FD60C30}" type="presParOf" srcId="{9890A743-9F64-434E-8E5F-7CAC5C3CE92D}" destId="{181CF141-5BFB-4C58-882D-2EA012C42938}" srcOrd="11" destOrd="0" presId="urn:microsoft.com/office/officeart/2005/8/layout/vList4"/>
    <dgm:cxn modelId="{CA293BF4-FB80-420F-83A2-EB4248357B0A}" type="presParOf" srcId="{9890A743-9F64-434E-8E5F-7CAC5C3CE92D}" destId="{D0365792-42C6-43F6-80A7-8DADD1F7D492}" srcOrd="12" destOrd="0" presId="urn:microsoft.com/office/officeart/2005/8/layout/vList4"/>
    <dgm:cxn modelId="{E23700E7-A484-4288-9EBA-431CAB30F7CD}" type="presParOf" srcId="{D0365792-42C6-43F6-80A7-8DADD1F7D492}" destId="{F5FB6E26-A59D-412C-9C04-514B79FE2D72}" srcOrd="0" destOrd="0" presId="urn:microsoft.com/office/officeart/2005/8/layout/vList4"/>
    <dgm:cxn modelId="{533EBD7B-78CD-4C12-8278-F542E8E692C6}" type="presParOf" srcId="{D0365792-42C6-43F6-80A7-8DADD1F7D492}" destId="{F889DE83-E50E-4034-B6F2-47C426ECB7BC}" srcOrd="1" destOrd="0" presId="urn:microsoft.com/office/officeart/2005/8/layout/vList4"/>
    <dgm:cxn modelId="{56788BB4-B898-4129-8DC4-5747835C69F7}" type="presParOf" srcId="{D0365792-42C6-43F6-80A7-8DADD1F7D492}" destId="{75F707EA-BEE9-43C9-87EC-C5DB871EFD6E}" srcOrd="2" destOrd="0" presId="urn:microsoft.com/office/officeart/2005/8/layout/vList4"/>
    <dgm:cxn modelId="{DF4065EE-8AE9-4A50-A9C7-AEC5ABF1DA61}" type="presParOf" srcId="{9890A743-9F64-434E-8E5F-7CAC5C3CE92D}" destId="{2447CE56-3BFA-43F2-A353-4A63A19581BA}" srcOrd="13" destOrd="0" presId="urn:microsoft.com/office/officeart/2005/8/layout/vList4"/>
    <dgm:cxn modelId="{7707E8C4-E2B0-47B0-8FA1-44FF9B8A055C}" type="presParOf" srcId="{9890A743-9F64-434E-8E5F-7CAC5C3CE92D}" destId="{E75A3EBA-8199-4D13-8A29-AB839DEAA636}" srcOrd="14" destOrd="0" presId="urn:microsoft.com/office/officeart/2005/8/layout/vList4"/>
    <dgm:cxn modelId="{E542DA7B-B9BC-48FF-81CD-98D8D732D510}" type="presParOf" srcId="{E75A3EBA-8199-4D13-8A29-AB839DEAA636}" destId="{6C9F2F60-952D-4F43-8B7C-470275D75919}" srcOrd="0" destOrd="0" presId="urn:microsoft.com/office/officeart/2005/8/layout/vList4"/>
    <dgm:cxn modelId="{611383F0-B9D6-4361-91F2-5E542525CB5A}" type="presParOf" srcId="{E75A3EBA-8199-4D13-8A29-AB839DEAA636}" destId="{63B77D97-B3F4-487D-B69B-A9ABF5EC90F7}" srcOrd="1" destOrd="0" presId="urn:microsoft.com/office/officeart/2005/8/layout/vList4"/>
    <dgm:cxn modelId="{C5CFA5DB-30B7-4F7B-A2ED-2DBDD7662F45}" type="presParOf" srcId="{E75A3EBA-8199-4D13-8A29-AB839DEAA636}" destId="{FC7EAE75-1E81-44D8-A399-2AC98ACE4662}" srcOrd="2" destOrd="0" presId="urn:microsoft.com/office/officeart/2005/8/layout/vList4"/>
    <dgm:cxn modelId="{56BA2675-07DF-47F9-99EE-31232A9643CD}" type="presParOf" srcId="{9890A743-9F64-434E-8E5F-7CAC5C3CE92D}" destId="{A55931B4-A4CA-44EC-A186-BB5F4A883888}" srcOrd="15" destOrd="0" presId="urn:microsoft.com/office/officeart/2005/8/layout/vList4"/>
    <dgm:cxn modelId="{FA9FD578-63A3-4093-8FFF-67E607850676}" type="presParOf" srcId="{9890A743-9F64-434E-8E5F-7CAC5C3CE92D}" destId="{0B3BF1D2-D4FD-4DBD-B11E-3599302B6F46}" srcOrd="16" destOrd="0" presId="urn:microsoft.com/office/officeart/2005/8/layout/vList4"/>
    <dgm:cxn modelId="{F3FF5255-DC63-441B-90DE-EA784ADF8E6F}" type="presParOf" srcId="{0B3BF1D2-D4FD-4DBD-B11E-3599302B6F46}" destId="{24A76ABF-68EC-4E83-A2E2-F0ABBB8905BC}" srcOrd="0" destOrd="0" presId="urn:microsoft.com/office/officeart/2005/8/layout/vList4"/>
    <dgm:cxn modelId="{FBB851D1-D95E-4E04-821F-4A87BC736C7B}" type="presParOf" srcId="{0B3BF1D2-D4FD-4DBD-B11E-3599302B6F46}" destId="{1071C02A-772E-4D2D-9F94-BD831A6B7B7D}" srcOrd="1" destOrd="0" presId="urn:microsoft.com/office/officeart/2005/8/layout/vList4"/>
    <dgm:cxn modelId="{DE763474-FD71-4681-AD16-86FF05DAFDF6}" type="presParOf" srcId="{0B3BF1D2-D4FD-4DBD-B11E-3599302B6F46}" destId="{6F713AA6-2393-45D3-9E1E-0E7782FC9C60}" srcOrd="2" destOrd="0" presId="urn:microsoft.com/office/officeart/2005/8/layout/vList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BA92BE-C19C-4D5D-83C1-1A8E169AEB4D}"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681A8D18-3DAF-43BE-8A68-5832197852D5}">
      <dgm:prSet phldrT="[Text]"/>
      <dgm:spPr>
        <a:solidFill>
          <a:schemeClr val="accent3"/>
        </a:solidFill>
      </dgm:spPr>
      <dgm:t>
        <a:bodyPr/>
        <a:lstStyle/>
        <a:p>
          <a:r>
            <a:rPr lang="en-US" dirty="0" smtClean="0"/>
            <a:t>Data</a:t>
          </a:r>
        </a:p>
      </dgm:t>
    </dgm:pt>
    <dgm:pt modelId="{366D1E1A-B08E-436F-89B1-124A51B145A4}" type="parTrans" cxnId="{2371ABD2-4C61-47CF-B0B4-5FFFB43A762D}">
      <dgm:prSet/>
      <dgm:spPr/>
      <dgm:t>
        <a:bodyPr/>
        <a:lstStyle/>
        <a:p>
          <a:endParaRPr lang="en-US"/>
        </a:p>
      </dgm:t>
    </dgm:pt>
    <dgm:pt modelId="{2FF3A3DF-D720-492E-81E6-5F3431E1AB07}" type="sibTrans" cxnId="{2371ABD2-4C61-47CF-B0B4-5FFFB43A762D}">
      <dgm:prSet/>
      <dgm:spPr/>
      <dgm:t>
        <a:bodyPr/>
        <a:lstStyle/>
        <a:p>
          <a:endParaRPr lang="en-US"/>
        </a:p>
      </dgm:t>
    </dgm:pt>
    <dgm:pt modelId="{8E3F2692-23A7-4A81-A126-43EB3A915F34}">
      <dgm:prSet phldrT="[Text]"/>
      <dgm:spPr/>
      <dgm:t>
        <a:bodyPr/>
        <a:lstStyle/>
        <a:p>
          <a:r>
            <a:rPr lang="en-US" dirty="0" smtClean="0"/>
            <a:t>Application</a:t>
          </a:r>
          <a:endParaRPr lang="en-US" dirty="0"/>
        </a:p>
      </dgm:t>
    </dgm:pt>
    <dgm:pt modelId="{5D88043A-81F1-4A3B-9389-994FDC094794}" type="parTrans" cxnId="{0F9027D9-0E61-448F-AF2F-59EF4EBEE20C}">
      <dgm:prSet/>
      <dgm:spPr/>
      <dgm:t>
        <a:bodyPr/>
        <a:lstStyle/>
        <a:p>
          <a:endParaRPr lang="en-US"/>
        </a:p>
      </dgm:t>
    </dgm:pt>
    <dgm:pt modelId="{8DD6C965-FF4F-4943-9C91-96CBA7CF4486}" type="sibTrans" cxnId="{0F9027D9-0E61-448F-AF2F-59EF4EBEE20C}">
      <dgm:prSet/>
      <dgm:spPr/>
      <dgm:t>
        <a:bodyPr/>
        <a:lstStyle/>
        <a:p>
          <a:endParaRPr lang="en-US"/>
        </a:p>
      </dgm:t>
    </dgm:pt>
    <dgm:pt modelId="{4D1B3AE1-5189-47B7-B4ED-3F64B2BE422F}">
      <dgm:prSet phldrT="[Text]"/>
      <dgm:spPr/>
      <dgm:t>
        <a:bodyPr/>
        <a:lstStyle/>
        <a:p>
          <a:r>
            <a:rPr lang="en-US" dirty="0" smtClean="0"/>
            <a:t>Runtime</a:t>
          </a:r>
          <a:endParaRPr lang="en-US" dirty="0"/>
        </a:p>
      </dgm:t>
    </dgm:pt>
    <dgm:pt modelId="{F4FE66E1-40D1-4908-920D-537776CEB0CF}" type="parTrans" cxnId="{133FED2B-9345-4B0B-A59E-2C948F16BDA8}">
      <dgm:prSet/>
      <dgm:spPr/>
      <dgm:t>
        <a:bodyPr/>
        <a:lstStyle/>
        <a:p>
          <a:endParaRPr lang="en-US"/>
        </a:p>
      </dgm:t>
    </dgm:pt>
    <dgm:pt modelId="{03843359-02F4-4F7A-BEF6-DEDD33518297}" type="sibTrans" cxnId="{133FED2B-9345-4B0B-A59E-2C948F16BDA8}">
      <dgm:prSet/>
      <dgm:spPr/>
      <dgm:t>
        <a:bodyPr/>
        <a:lstStyle/>
        <a:p>
          <a:endParaRPr lang="en-US"/>
        </a:p>
      </dgm:t>
    </dgm:pt>
    <dgm:pt modelId="{236A9AD3-09EE-412D-988C-CE8AC6041363}">
      <dgm:prSet phldrT="[Text]"/>
      <dgm:spPr/>
      <dgm:t>
        <a:bodyPr/>
        <a:lstStyle/>
        <a:p>
          <a:r>
            <a:rPr lang="en-US" dirty="0" smtClean="0"/>
            <a:t>Middleware</a:t>
          </a:r>
          <a:endParaRPr lang="en-US" dirty="0"/>
        </a:p>
      </dgm:t>
    </dgm:pt>
    <dgm:pt modelId="{A3EFBBA8-473C-47F3-A17F-764883A41A37}" type="parTrans" cxnId="{DD56E4C3-5E44-414B-8FEC-0DBA27627032}">
      <dgm:prSet/>
      <dgm:spPr/>
      <dgm:t>
        <a:bodyPr/>
        <a:lstStyle/>
        <a:p>
          <a:endParaRPr lang="en-US"/>
        </a:p>
      </dgm:t>
    </dgm:pt>
    <dgm:pt modelId="{AC953FA7-1916-43A5-A991-C06D0224CC47}" type="sibTrans" cxnId="{DD56E4C3-5E44-414B-8FEC-0DBA27627032}">
      <dgm:prSet/>
      <dgm:spPr/>
      <dgm:t>
        <a:bodyPr/>
        <a:lstStyle/>
        <a:p>
          <a:endParaRPr lang="en-US"/>
        </a:p>
      </dgm:t>
    </dgm:pt>
    <dgm:pt modelId="{8D348E51-35E1-4A29-9C21-677152E8C41A}">
      <dgm:prSet phldrT="[Text]"/>
      <dgm:spPr/>
      <dgm:t>
        <a:bodyPr/>
        <a:lstStyle/>
        <a:p>
          <a:r>
            <a:rPr lang="en-US" dirty="0" smtClean="0"/>
            <a:t>O/S</a:t>
          </a:r>
          <a:endParaRPr lang="en-US" dirty="0"/>
        </a:p>
      </dgm:t>
    </dgm:pt>
    <dgm:pt modelId="{BBA80BB7-3340-4062-BBF1-D300AE49BA2B}" type="parTrans" cxnId="{C7467611-040A-4F6D-BF76-BD8D1AAA6F12}">
      <dgm:prSet/>
      <dgm:spPr/>
      <dgm:t>
        <a:bodyPr/>
        <a:lstStyle/>
        <a:p>
          <a:endParaRPr lang="en-US"/>
        </a:p>
      </dgm:t>
    </dgm:pt>
    <dgm:pt modelId="{5FE72B37-879D-4E83-B98F-AD100AECB936}" type="sibTrans" cxnId="{C7467611-040A-4F6D-BF76-BD8D1AAA6F12}">
      <dgm:prSet/>
      <dgm:spPr/>
      <dgm:t>
        <a:bodyPr/>
        <a:lstStyle/>
        <a:p>
          <a:endParaRPr lang="en-US"/>
        </a:p>
      </dgm:t>
    </dgm:pt>
    <dgm:pt modelId="{379D8648-56E6-49EB-AEAB-A465D845C1CD}">
      <dgm:prSet phldrT="[Text]"/>
      <dgm:spPr/>
      <dgm:t>
        <a:bodyPr/>
        <a:lstStyle/>
        <a:p>
          <a:r>
            <a:rPr lang="en-US" dirty="0" smtClean="0"/>
            <a:t>Virtualization</a:t>
          </a:r>
          <a:endParaRPr lang="en-US" dirty="0"/>
        </a:p>
      </dgm:t>
    </dgm:pt>
    <dgm:pt modelId="{12FBF733-B4E3-41B8-A91C-CB3997294B11}" type="parTrans" cxnId="{BF8A918C-EB99-4DFF-884A-8132553EEEDF}">
      <dgm:prSet/>
      <dgm:spPr/>
      <dgm:t>
        <a:bodyPr/>
        <a:lstStyle/>
        <a:p>
          <a:endParaRPr lang="en-US"/>
        </a:p>
      </dgm:t>
    </dgm:pt>
    <dgm:pt modelId="{8B7C66FF-DB30-46D1-8641-D30492BF79D4}" type="sibTrans" cxnId="{BF8A918C-EB99-4DFF-884A-8132553EEEDF}">
      <dgm:prSet/>
      <dgm:spPr/>
      <dgm:t>
        <a:bodyPr/>
        <a:lstStyle/>
        <a:p>
          <a:endParaRPr lang="en-US"/>
        </a:p>
      </dgm:t>
    </dgm:pt>
    <dgm:pt modelId="{D5EC79EC-CD02-4850-8A48-D728E7AC45E9}">
      <dgm:prSet phldrT="[Text]"/>
      <dgm:spPr/>
      <dgm:t>
        <a:bodyPr/>
        <a:lstStyle/>
        <a:p>
          <a:r>
            <a:rPr lang="en-US" dirty="0" smtClean="0"/>
            <a:t>Server</a:t>
          </a:r>
          <a:endParaRPr lang="en-US" dirty="0"/>
        </a:p>
      </dgm:t>
    </dgm:pt>
    <dgm:pt modelId="{C1E5B3EF-6338-458B-A23B-09127CF38BF6}" type="parTrans" cxnId="{70ACCBD7-46C6-4D03-83EF-03B7BE1D8F09}">
      <dgm:prSet/>
      <dgm:spPr/>
      <dgm:t>
        <a:bodyPr/>
        <a:lstStyle/>
        <a:p>
          <a:endParaRPr lang="en-US"/>
        </a:p>
      </dgm:t>
    </dgm:pt>
    <dgm:pt modelId="{1213BEB9-C6EA-46CA-B273-D2949B6FB5FB}" type="sibTrans" cxnId="{70ACCBD7-46C6-4D03-83EF-03B7BE1D8F09}">
      <dgm:prSet/>
      <dgm:spPr/>
      <dgm:t>
        <a:bodyPr/>
        <a:lstStyle/>
        <a:p>
          <a:endParaRPr lang="en-US"/>
        </a:p>
      </dgm:t>
    </dgm:pt>
    <dgm:pt modelId="{59795BEE-DDC0-4445-8973-0FCFA566EFBB}">
      <dgm:prSet phldrT="[Text]"/>
      <dgm:spPr/>
      <dgm:t>
        <a:bodyPr/>
        <a:lstStyle/>
        <a:p>
          <a:r>
            <a:rPr lang="en-US" dirty="0" smtClean="0"/>
            <a:t>Storage</a:t>
          </a:r>
          <a:endParaRPr lang="en-US" dirty="0"/>
        </a:p>
      </dgm:t>
    </dgm:pt>
    <dgm:pt modelId="{FCB64DF0-02B1-4910-8D2A-BCAC48E4B87F}" type="parTrans" cxnId="{E8EFBFED-9634-45C5-AF11-654E518F89C8}">
      <dgm:prSet/>
      <dgm:spPr/>
      <dgm:t>
        <a:bodyPr/>
        <a:lstStyle/>
        <a:p>
          <a:endParaRPr lang="en-US"/>
        </a:p>
      </dgm:t>
    </dgm:pt>
    <dgm:pt modelId="{E18280ED-0F23-4F22-BE08-23A93476C6A9}" type="sibTrans" cxnId="{E8EFBFED-9634-45C5-AF11-654E518F89C8}">
      <dgm:prSet/>
      <dgm:spPr/>
      <dgm:t>
        <a:bodyPr/>
        <a:lstStyle/>
        <a:p>
          <a:endParaRPr lang="en-US"/>
        </a:p>
      </dgm:t>
    </dgm:pt>
    <dgm:pt modelId="{CBB2B37F-907B-41D6-882E-601998B3C09D}">
      <dgm:prSet phldrT="[Text]"/>
      <dgm:spPr/>
      <dgm:t>
        <a:bodyPr/>
        <a:lstStyle/>
        <a:p>
          <a:r>
            <a:rPr lang="en-US" dirty="0" smtClean="0"/>
            <a:t>Networking</a:t>
          </a:r>
          <a:endParaRPr lang="en-US" dirty="0"/>
        </a:p>
      </dgm:t>
    </dgm:pt>
    <dgm:pt modelId="{339FC69F-ECB4-42D4-9ADF-FF328ACD1C95}" type="parTrans" cxnId="{D4B51728-62E4-4595-B050-3271684EE803}">
      <dgm:prSet/>
      <dgm:spPr/>
      <dgm:t>
        <a:bodyPr/>
        <a:lstStyle/>
        <a:p>
          <a:endParaRPr lang="en-US"/>
        </a:p>
      </dgm:t>
    </dgm:pt>
    <dgm:pt modelId="{C392CF23-84A2-4482-A209-41073BAF4998}" type="sibTrans" cxnId="{D4B51728-62E4-4595-B050-3271684EE803}">
      <dgm:prSet/>
      <dgm:spPr/>
      <dgm:t>
        <a:bodyPr/>
        <a:lstStyle/>
        <a:p>
          <a:endParaRPr lang="en-US"/>
        </a:p>
      </dgm:t>
    </dgm:pt>
    <dgm:pt modelId="{9890A743-9F64-434E-8E5F-7CAC5C3CE92D}" type="pres">
      <dgm:prSet presAssocID="{E7BA92BE-C19C-4D5D-83C1-1A8E169AEB4D}" presName="linear" presStyleCnt="0">
        <dgm:presLayoutVars>
          <dgm:dir/>
          <dgm:resizeHandles val="exact"/>
        </dgm:presLayoutVars>
      </dgm:prSet>
      <dgm:spPr/>
      <dgm:t>
        <a:bodyPr/>
        <a:lstStyle/>
        <a:p>
          <a:endParaRPr lang="en-US"/>
        </a:p>
      </dgm:t>
    </dgm:pt>
    <dgm:pt modelId="{13F83F6B-FFBD-4711-9B42-938486C9C82E}" type="pres">
      <dgm:prSet presAssocID="{681A8D18-3DAF-43BE-8A68-5832197852D5}" presName="comp" presStyleCnt="0"/>
      <dgm:spPr/>
    </dgm:pt>
    <dgm:pt modelId="{9C1EF2DA-F65E-4645-B83D-8F14A8FCA67E}" type="pres">
      <dgm:prSet presAssocID="{681A8D18-3DAF-43BE-8A68-5832197852D5}" presName="box" presStyleLbl="node1" presStyleIdx="0" presStyleCnt="9"/>
      <dgm:spPr/>
      <dgm:t>
        <a:bodyPr/>
        <a:lstStyle/>
        <a:p>
          <a:endParaRPr lang="en-US"/>
        </a:p>
      </dgm:t>
    </dgm:pt>
    <dgm:pt modelId="{4156E3C8-9705-4625-B954-1C5500EC1F7E}" type="pres">
      <dgm:prSet presAssocID="{681A8D18-3DAF-43BE-8A68-5832197852D5}" presName="img" presStyleLbl="fgImgPlace1" presStyleIdx="0" presStyleCnt="9"/>
      <dgm:spPr>
        <a:blipFill>
          <a:blip xmlns:r="http://schemas.openxmlformats.org/officeDocument/2006/relationships" r:embed="rId1">
            <a:extLst>
              <a:ext uri="{28A0092B-C50C-407E-A947-70E740481C1C}">
                <a14:useLocalDpi xmlns:a14="http://schemas.microsoft.com/office/drawing/2010/main" val="0"/>
              </a:ext>
            </a:extLst>
          </a:blip>
          <a:srcRect/>
          <a:stretch>
            <a:fillRect l="-40000" r="-40000"/>
          </a:stretch>
        </a:blipFill>
      </dgm:spPr>
    </dgm:pt>
    <dgm:pt modelId="{A35E4587-F488-43E9-8CD1-C8B26E193C7C}" type="pres">
      <dgm:prSet presAssocID="{681A8D18-3DAF-43BE-8A68-5832197852D5}" presName="text" presStyleLbl="node1" presStyleIdx="0" presStyleCnt="9">
        <dgm:presLayoutVars>
          <dgm:bulletEnabled val="1"/>
        </dgm:presLayoutVars>
      </dgm:prSet>
      <dgm:spPr/>
      <dgm:t>
        <a:bodyPr/>
        <a:lstStyle/>
        <a:p>
          <a:endParaRPr lang="en-US"/>
        </a:p>
      </dgm:t>
    </dgm:pt>
    <dgm:pt modelId="{62633356-FF5A-4277-9481-40645EA302E4}" type="pres">
      <dgm:prSet presAssocID="{2FF3A3DF-D720-492E-81E6-5F3431E1AB07}" presName="spacer" presStyleCnt="0"/>
      <dgm:spPr/>
    </dgm:pt>
    <dgm:pt modelId="{5F8B302A-627F-43CE-A59F-90BD795E0065}" type="pres">
      <dgm:prSet presAssocID="{8E3F2692-23A7-4A81-A126-43EB3A915F34}" presName="comp" presStyleCnt="0"/>
      <dgm:spPr/>
    </dgm:pt>
    <dgm:pt modelId="{ADA09EC6-3C6B-4D39-A241-991FD95E38CD}" type="pres">
      <dgm:prSet presAssocID="{8E3F2692-23A7-4A81-A126-43EB3A915F34}" presName="box" presStyleLbl="node1" presStyleIdx="1" presStyleCnt="9"/>
      <dgm:spPr/>
      <dgm:t>
        <a:bodyPr/>
        <a:lstStyle/>
        <a:p>
          <a:endParaRPr lang="en-US"/>
        </a:p>
      </dgm:t>
    </dgm:pt>
    <dgm:pt modelId="{EB05AED6-829D-4EFA-85B6-FD73F51E01B2}" type="pres">
      <dgm:prSet presAssocID="{8E3F2692-23A7-4A81-A126-43EB3A915F34}" presName="img" presStyleLbl="fgImgPlace1"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CE83B511-0EC8-48C9-AE34-D6DEA77229E2}" type="pres">
      <dgm:prSet presAssocID="{8E3F2692-23A7-4A81-A126-43EB3A915F34}" presName="text" presStyleLbl="node1" presStyleIdx="1" presStyleCnt="9">
        <dgm:presLayoutVars>
          <dgm:bulletEnabled val="1"/>
        </dgm:presLayoutVars>
      </dgm:prSet>
      <dgm:spPr/>
      <dgm:t>
        <a:bodyPr/>
        <a:lstStyle/>
        <a:p>
          <a:endParaRPr lang="en-US"/>
        </a:p>
      </dgm:t>
    </dgm:pt>
    <dgm:pt modelId="{8F3E4B39-8EE7-440B-BE0F-A9D2ACD77AD4}" type="pres">
      <dgm:prSet presAssocID="{8DD6C965-FF4F-4943-9C91-96CBA7CF4486}" presName="spacer" presStyleCnt="0"/>
      <dgm:spPr/>
    </dgm:pt>
    <dgm:pt modelId="{238DBC6B-7A33-4B0F-9EEB-5CE92B02E181}" type="pres">
      <dgm:prSet presAssocID="{4D1B3AE1-5189-47B7-B4ED-3F64B2BE422F}" presName="comp" presStyleCnt="0"/>
      <dgm:spPr/>
    </dgm:pt>
    <dgm:pt modelId="{DB45ECA9-392E-4ED2-ADD4-89C963A7B93A}" type="pres">
      <dgm:prSet presAssocID="{4D1B3AE1-5189-47B7-B4ED-3F64B2BE422F}" presName="box" presStyleLbl="node1" presStyleIdx="2" presStyleCnt="9"/>
      <dgm:spPr/>
      <dgm:t>
        <a:bodyPr/>
        <a:lstStyle/>
        <a:p>
          <a:endParaRPr lang="en-US"/>
        </a:p>
      </dgm:t>
    </dgm:pt>
    <dgm:pt modelId="{683FBB26-F1C2-46DC-BCB9-4B5B8948E2DF}" type="pres">
      <dgm:prSet presAssocID="{4D1B3AE1-5189-47B7-B4ED-3F64B2BE422F}" presName="img" presStyleLbl="fgImgPlace1" presStyleIdx="2" presStyleCnt="9"/>
      <dgm:spPr>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dgm:spPr>
    </dgm:pt>
    <dgm:pt modelId="{77C720F0-2FE9-4C17-AD5D-4D89AF57B423}" type="pres">
      <dgm:prSet presAssocID="{4D1B3AE1-5189-47B7-B4ED-3F64B2BE422F}" presName="text" presStyleLbl="node1" presStyleIdx="2" presStyleCnt="9">
        <dgm:presLayoutVars>
          <dgm:bulletEnabled val="1"/>
        </dgm:presLayoutVars>
      </dgm:prSet>
      <dgm:spPr/>
      <dgm:t>
        <a:bodyPr/>
        <a:lstStyle/>
        <a:p>
          <a:endParaRPr lang="en-US"/>
        </a:p>
      </dgm:t>
    </dgm:pt>
    <dgm:pt modelId="{66A2380A-F889-420A-8D71-535AA2498798}" type="pres">
      <dgm:prSet presAssocID="{03843359-02F4-4F7A-BEF6-DEDD33518297}" presName="spacer" presStyleCnt="0"/>
      <dgm:spPr/>
    </dgm:pt>
    <dgm:pt modelId="{4DBF68E2-BE97-4107-8598-B63CF474EE95}" type="pres">
      <dgm:prSet presAssocID="{236A9AD3-09EE-412D-988C-CE8AC6041363}" presName="comp" presStyleCnt="0"/>
      <dgm:spPr/>
    </dgm:pt>
    <dgm:pt modelId="{334A3BA9-C29E-4DCA-86ED-24F4750BCA26}" type="pres">
      <dgm:prSet presAssocID="{236A9AD3-09EE-412D-988C-CE8AC6041363}" presName="box" presStyleLbl="node1" presStyleIdx="3" presStyleCnt="9"/>
      <dgm:spPr/>
      <dgm:t>
        <a:bodyPr/>
        <a:lstStyle/>
        <a:p>
          <a:endParaRPr lang="en-US"/>
        </a:p>
      </dgm:t>
    </dgm:pt>
    <dgm:pt modelId="{87183F32-D3ED-4E22-8AFB-A54DC7F4F918}" type="pres">
      <dgm:prSet presAssocID="{236A9AD3-09EE-412D-988C-CE8AC6041363}" presName="img" presStyleLbl="fgImgPlace1" presStyleIdx="3" presStyleCnt="9"/>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0ED01A96-7F8C-48C7-ADDB-A90991D33977}" type="pres">
      <dgm:prSet presAssocID="{236A9AD3-09EE-412D-988C-CE8AC6041363}" presName="text" presStyleLbl="node1" presStyleIdx="3" presStyleCnt="9">
        <dgm:presLayoutVars>
          <dgm:bulletEnabled val="1"/>
        </dgm:presLayoutVars>
      </dgm:prSet>
      <dgm:spPr/>
      <dgm:t>
        <a:bodyPr/>
        <a:lstStyle/>
        <a:p>
          <a:endParaRPr lang="en-US"/>
        </a:p>
      </dgm:t>
    </dgm:pt>
    <dgm:pt modelId="{E9BC61CB-A81F-4C37-9D93-B897AE00AB10}" type="pres">
      <dgm:prSet presAssocID="{AC953FA7-1916-43A5-A991-C06D0224CC47}" presName="spacer" presStyleCnt="0"/>
      <dgm:spPr/>
    </dgm:pt>
    <dgm:pt modelId="{32C151AA-E71C-468A-AEC1-8DDC2FC6BAC3}" type="pres">
      <dgm:prSet presAssocID="{8D348E51-35E1-4A29-9C21-677152E8C41A}" presName="comp" presStyleCnt="0"/>
      <dgm:spPr/>
    </dgm:pt>
    <dgm:pt modelId="{1181644A-2FB0-4225-A392-0F366DA1D30E}" type="pres">
      <dgm:prSet presAssocID="{8D348E51-35E1-4A29-9C21-677152E8C41A}" presName="box" presStyleLbl="node1" presStyleIdx="4" presStyleCnt="9"/>
      <dgm:spPr/>
      <dgm:t>
        <a:bodyPr/>
        <a:lstStyle/>
        <a:p>
          <a:endParaRPr lang="en-US"/>
        </a:p>
      </dgm:t>
    </dgm:pt>
    <dgm:pt modelId="{C51DEB0E-C843-44BA-A8A6-E32A9060889F}" type="pres">
      <dgm:prSet presAssocID="{8D348E51-35E1-4A29-9C21-677152E8C41A}" presName="img" presStyleLbl="fgImgPlace1" presStyleIdx="4" presStyleCnt="9"/>
      <dgm:spPr>
        <a:blipFill>
          <a:blip xmlns:r="http://schemas.openxmlformats.org/officeDocument/2006/relationships" r:embed="rId5">
            <a:extLst>
              <a:ext uri="{28A0092B-C50C-407E-A947-70E740481C1C}">
                <a14:useLocalDpi xmlns:a14="http://schemas.microsoft.com/office/drawing/2010/main" val="0"/>
              </a:ext>
            </a:extLst>
          </a:blip>
          <a:srcRect/>
          <a:stretch>
            <a:fillRect l="-49000" r="-49000"/>
          </a:stretch>
        </a:blipFill>
      </dgm:spPr>
    </dgm:pt>
    <dgm:pt modelId="{CB10FADE-0E96-4FA5-B6F9-ABA3DE7FA00F}" type="pres">
      <dgm:prSet presAssocID="{8D348E51-35E1-4A29-9C21-677152E8C41A}" presName="text" presStyleLbl="node1" presStyleIdx="4" presStyleCnt="9">
        <dgm:presLayoutVars>
          <dgm:bulletEnabled val="1"/>
        </dgm:presLayoutVars>
      </dgm:prSet>
      <dgm:spPr/>
      <dgm:t>
        <a:bodyPr/>
        <a:lstStyle/>
        <a:p>
          <a:endParaRPr lang="en-US"/>
        </a:p>
      </dgm:t>
    </dgm:pt>
    <dgm:pt modelId="{83AEFCE9-BDAE-4F0B-A7AB-375FD7983339}" type="pres">
      <dgm:prSet presAssocID="{5FE72B37-879D-4E83-B98F-AD100AECB936}" presName="spacer" presStyleCnt="0"/>
      <dgm:spPr/>
    </dgm:pt>
    <dgm:pt modelId="{68A72570-2661-46CE-B9DA-5E31156B8CE0}" type="pres">
      <dgm:prSet presAssocID="{379D8648-56E6-49EB-AEAB-A465D845C1CD}" presName="comp" presStyleCnt="0"/>
      <dgm:spPr/>
    </dgm:pt>
    <dgm:pt modelId="{4AD24150-C32F-4791-985B-001E8DB4C980}" type="pres">
      <dgm:prSet presAssocID="{379D8648-56E6-49EB-AEAB-A465D845C1CD}" presName="box" presStyleLbl="node1" presStyleIdx="5" presStyleCnt="9"/>
      <dgm:spPr/>
      <dgm:t>
        <a:bodyPr/>
        <a:lstStyle/>
        <a:p>
          <a:endParaRPr lang="en-US"/>
        </a:p>
      </dgm:t>
    </dgm:pt>
    <dgm:pt modelId="{7D5E44CA-EE76-451C-BF29-4EF20ABC27FD}" type="pres">
      <dgm:prSet presAssocID="{379D8648-56E6-49EB-AEAB-A465D845C1CD}" presName="img" presStyleLbl="fgImgPlace1" presStyleIdx="5" presStyleCnt="9"/>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3D70E6C2-7721-4172-84C1-CCDD23B55355}" type="pres">
      <dgm:prSet presAssocID="{379D8648-56E6-49EB-AEAB-A465D845C1CD}" presName="text" presStyleLbl="node1" presStyleIdx="5" presStyleCnt="9">
        <dgm:presLayoutVars>
          <dgm:bulletEnabled val="1"/>
        </dgm:presLayoutVars>
      </dgm:prSet>
      <dgm:spPr/>
      <dgm:t>
        <a:bodyPr/>
        <a:lstStyle/>
        <a:p>
          <a:endParaRPr lang="en-US"/>
        </a:p>
      </dgm:t>
    </dgm:pt>
    <dgm:pt modelId="{181CF141-5BFB-4C58-882D-2EA012C42938}" type="pres">
      <dgm:prSet presAssocID="{8B7C66FF-DB30-46D1-8641-D30492BF79D4}" presName="spacer" presStyleCnt="0"/>
      <dgm:spPr/>
    </dgm:pt>
    <dgm:pt modelId="{D0365792-42C6-43F6-80A7-8DADD1F7D492}" type="pres">
      <dgm:prSet presAssocID="{D5EC79EC-CD02-4850-8A48-D728E7AC45E9}" presName="comp" presStyleCnt="0"/>
      <dgm:spPr/>
    </dgm:pt>
    <dgm:pt modelId="{F5FB6E26-A59D-412C-9C04-514B79FE2D72}" type="pres">
      <dgm:prSet presAssocID="{D5EC79EC-CD02-4850-8A48-D728E7AC45E9}" presName="box" presStyleLbl="node1" presStyleIdx="6" presStyleCnt="9"/>
      <dgm:spPr/>
      <dgm:t>
        <a:bodyPr/>
        <a:lstStyle/>
        <a:p>
          <a:endParaRPr lang="en-US"/>
        </a:p>
      </dgm:t>
    </dgm:pt>
    <dgm:pt modelId="{F889DE83-E50E-4034-B6F2-47C426ECB7BC}" type="pres">
      <dgm:prSet presAssocID="{D5EC79EC-CD02-4850-8A48-D728E7AC45E9}" presName="img" presStyleLbl="fgImgPlace1" presStyleIdx="6" presStyleCnt="9"/>
      <dgm:spPr>
        <a:blipFill>
          <a:blip xmlns:r="http://schemas.openxmlformats.org/officeDocument/2006/relationships" r:embed="rId7">
            <a:extLst>
              <a:ext uri="{28A0092B-C50C-407E-A947-70E740481C1C}">
                <a14:useLocalDpi xmlns:a14="http://schemas.microsoft.com/office/drawing/2010/main" val="0"/>
              </a:ext>
            </a:extLst>
          </a:blip>
          <a:srcRect/>
          <a:stretch>
            <a:fillRect t="-36000" b="-36000"/>
          </a:stretch>
        </a:blipFill>
      </dgm:spPr>
    </dgm:pt>
    <dgm:pt modelId="{75F707EA-BEE9-43C9-87EC-C5DB871EFD6E}" type="pres">
      <dgm:prSet presAssocID="{D5EC79EC-CD02-4850-8A48-D728E7AC45E9}" presName="text" presStyleLbl="node1" presStyleIdx="6" presStyleCnt="9">
        <dgm:presLayoutVars>
          <dgm:bulletEnabled val="1"/>
        </dgm:presLayoutVars>
      </dgm:prSet>
      <dgm:spPr/>
      <dgm:t>
        <a:bodyPr/>
        <a:lstStyle/>
        <a:p>
          <a:endParaRPr lang="en-US"/>
        </a:p>
      </dgm:t>
    </dgm:pt>
    <dgm:pt modelId="{2447CE56-3BFA-43F2-A353-4A63A19581BA}" type="pres">
      <dgm:prSet presAssocID="{1213BEB9-C6EA-46CA-B273-D2949B6FB5FB}" presName="spacer" presStyleCnt="0"/>
      <dgm:spPr/>
    </dgm:pt>
    <dgm:pt modelId="{E75A3EBA-8199-4D13-8A29-AB839DEAA636}" type="pres">
      <dgm:prSet presAssocID="{59795BEE-DDC0-4445-8973-0FCFA566EFBB}" presName="comp" presStyleCnt="0"/>
      <dgm:spPr/>
    </dgm:pt>
    <dgm:pt modelId="{6C9F2F60-952D-4F43-8B7C-470275D75919}" type="pres">
      <dgm:prSet presAssocID="{59795BEE-DDC0-4445-8973-0FCFA566EFBB}" presName="box" presStyleLbl="node1" presStyleIdx="7" presStyleCnt="9"/>
      <dgm:spPr/>
      <dgm:t>
        <a:bodyPr/>
        <a:lstStyle/>
        <a:p>
          <a:endParaRPr lang="en-US"/>
        </a:p>
      </dgm:t>
    </dgm:pt>
    <dgm:pt modelId="{63B77D97-B3F4-487D-B69B-A9ABF5EC90F7}" type="pres">
      <dgm:prSet presAssocID="{59795BEE-DDC0-4445-8973-0FCFA566EFBB}" presName="img" presStyleLbl="fgImgPlace1" presStyleIdx="7" presStyleCnt="9"/>
      <dgm:spPr>
        <a:blipFill>
          <a:blip xmlns:r="http://schemas.openxmlformats.org/officeDocument/2006/relationships" r:embed="rId8">
            <a:extLst>
              <a:ext uri="{28A0092B-C50C-407E-A947-70E740481C1C}">
                <a14:useLocalDpi xmlns:a14="http://schemas.microsoft.com/office/drawing/2010/main" val="0"/>
              </a:ext>
            </a:extLst>
          </a:blip>
          <a:srcRect/>
          <a:stretch>
            <a:fillRect l="-10000" r="-10000"/>
          </a:stretch>
        </a:blipFill>
      </dgm:spPr>
    </dgm:pt>
    <dgm:pt modelId="{FC7EAE75-1E81-44D8-A399-2AC98ACE4662}" type="pres">
      <dgm:prSet presAssocID="{59795BEE-DDC0-4445-8973-0FCFA566EFBB}" presName="text" presStyleLbl="node1" presStyleIdx="7" presStyleCnt="9">
        <dgm:presLayoutVars>
          <dgm:bulletEnabled val="1"/>
        </dgm:presLayoutVars>
      </dgm:prSet>
      <dgm:spPr/>
      <dgm:t>
        <a:bodyPr/>
        <a:lstStyle/>
        <a:p>
          <a:endParaRPr lang="en-US"/>
        </a:p>
      </dgm:t>
    </dgm:pt>
    <dgm:pt modelId="{A55931B4-A4CA-44EC-A186-BB5F4A883888}" type="pres">
      <dgm:prSet presAssocID="{E18280ED-0F23-4F22-BE08-23A93476C6A9}" presName="spacer" presStyleCnt="0"/>
      <dgm:spPr/>
    </dgm:pt>
    <dgm:pt modelId="{0B3BF1D2-D4FD-4DBD-B11E-3599302B6F46}" type="pres">
      <dgm:prSet presAssocID="{CBB2B37F-907B-41D6-882E-601998B3C09D}" presName="comp" presStyleCnt="0"/>
      <dgm:spPr/>
    </dgm:pt>
    <dgm:pt modelId="{24A76ABF-68EC-4E83-A2E2-F0ABBB8905BC}" type="pres">
      <dgm:prSet presAssocID="{CBB2B37F-907B-41D6-882E-601998B3C09D}" presName="box" presStyleLbl="node1" presStyleIdx="8" presStyleCnt="9"/>
      <dgm:spPr/>
      <dgm:t>
        <a:bodyPr/>
        <a:lstStyle/>
        <a:p>
          <a:endParaRPr lang="en-US"/>
        </a:p>
      </dgm:t>
    </dgm:pt>
    <dgm:pt modelId="{1071C02A-772E-4D2D-9F94-BD831A6B7B7D}" type="pres">
      <dgm:prSet presAssocID="{CBB2B37F-907B-41D6-882E-601998B3C09D}" presName="img" presStyleLbl="fgImgPlace1" presStyleIdx="8" presStyleCnt="9"/>
      <dgm:spPr>
        <a:blipFill>
          <a:blip xmlns:r="http://schemas.openxmlformats.org/officeDocument/2006/relationships" r:embed="rId9">
            <a:extLst>
              <a:ext uri="{28A0092B-C50C-407E-A947-70E740481C1C}">
                <a14:useLocalDpi xmlns:a14="http://schemas.microsoft.com/office/drawing/2010/main" val="0"/>
              </a:ext>
            </a:extLst>
          </a:blip>
          <a:srcRect/>
          <a:stretch>
            <a:fillRect l="-24000" r="-24000"/>
          </a:stretch>
        </a:blipFill>
      </dgm:spPr>
    </dgm:pt>
    <dgm:pt modelId="{6F713AA6-2393-45D3-9E1E-0E7782FC9C60}" type="pres">
      <dgm:prSet presAssocID="{CBB2B37F-907B-41D6-882E-601998B3C09D}" presName="text" presStyleLbl="node1" presStyleIdx="8" presStyleCnt="9">
        <dgm:presLayoutVars>
          <dgm:bulletEnabled val="1"/>
        </dgm:presLayoutVars>
      </dgm:prSet>
      <dgm:spPr/>
      <dgm:t>
        <a:bodyPr/>
        <a:lstStyle/>
        <a:p>
          <a:endParaRPr lang="en-US"/>
        </a:p>
      </dgm:t>
    </dgm:pt>
  </dgm:ptLst>
  <dgm:cxnLst>
    <dgm:cxn modelId="{5370CDDC-4D62-4624-A247-66C3A4899D2D}" type="presOf" srcId="{D5EC79EC-CD02-4850-8A48-D728E7AC45E9}" destId="{F5FB6E26-A59D-412C-9C04-514B79FE2D72}" srcOrd="0" destOrd="0" presId="urn:microsoft.com/office/officeart/2005/8/layout/vList4"/>
    <dgm:cxn modelId="{BDBEA6C9-7EC9-4E6C-80AB-C3DD452CE294}" type="presOf" srcId="{681A8D18-3DAF-43BE-8A68-5832197852D5}" destId="{9C1EF2DA-F65E-4645-B83D-8F14A8FCA67E}" srcOrd="0" destOrd="0" presId="urn:microsoft.com/office/officeart/2005/8/layout/vList4"/>
    <dgm:cxn modelId="{C01946A6-3577-4577-814B-E0489AB1694C}" type="presOf" srcId="{681A8D18-3DAF-43BE-8A68-5832197852D5}" destId="{A35E4587-F488-43E9-8CD1-C8B26E193C7C}" srcOrd="1" destOrd="0" presId="urn:microsoft.com/office/officeart/2005/8/layout/vList4"/>
    <dgm:cxn modelId="{5326194F-97A4-4643-AB82-D0B6E4881F88}" type="presOf" srcId="{379D8648-56E6-49EB-AEAB-A465D845C1CD}" destId="{3D70E6C2-7721-4172-84C1-CCDD23B55355}" srcOrd="1" destOrd="0" presId="urn:microsoft.com/office/officeart/2005/8/layout/vList4"/>
    <dgm:cxn modelId="{1AE15FC7-653C-4D5B-9465-DE453092BEE7}" type="presOf" srcId="{8E3F2692-23A7-4A81-A126-43EB3A915F34}" destId="{ADA09EC6-3C6B-4D39-A241-991FD95E38CD}" srcOrd="0" destOrd="0" presId="urn:microsoft.com/office/officeart/2005/8/layout/vList4"/>
    <dgm:cxn modelId="{4949ADC0-9B14-4A36-B418-0C87FD612E4E}" type="presOf" srcId="{236A9AD3-09EE-412D-988C-CE8AC6041363}" destId="{334A3BA9-C29E-4DCA-86ED-24F4750BCA26}" srcOrd="0" destOrd="0" presId="urn:microsoft.com/office/officeart/2005/8/layout/vList4"/>
    <dgm:cxn modelId="{D60DBCE6-2B4B-4E81-A5AC-1046CC7BCDB4}" type="presOf" srcId="{8D348E51-35E1-4A29-9C21-677152E8C41A}" destId="{1181644A-2FB0-4225-A392-0F366DA1D30E}" srcOrd="0" destOrd="0" presId="urn:microsoft.com/office/officeart/2005/8/layout/vList4"/>
    <dgm:cxn modelId="{D9516C22-CC91-4B6B-B271-1022A26A541C}" type="presOf" srcId="{CBB2B37F-907B-41D6-882E-601998B3C09D}" destId="{6F713AA6-2393-45D3-9E1E-0E7782FC9C60}" srcOrd="1" destOrd="0" presId="urn:microsoft.com/office/officeart/2005/8/layout/vList4"/>
    <dgm:cxn modelId="{C7467611-040A-4F6D-BF76-BD8D1AAA6F12}" srcId="{E7BA92BE-C19C-4D5D-83C1-1A8E169AEB4D}" destId="{8D348E51-35E1-4A29-9C21-677152E8C41A}" srcOrd="4" destOrd="0" parTransId="{BBA80BB7-3340-4062-BBF1-D300AE49BA2B}" sibTransId="{5FE72B37-879D-4E83-B98F-AD100AECB936}"/>
    <dgm:cxn modelId="{70ACCBD7-46C6-4D03-83EF-03B7BE1D8F09}" srcId="{E7BA92BE-C19C-4D5D-83C1-1A8E169AEB4D}" destId="{D5EC79EC-CD02-4850-8A48-D728E7AC45E9}" srcOrd="6" destOrd="0" parTransId="{C1E5B3EF-6338-458B-A23B-09127CF38BF6}" sibTransId="{1213BEB9-C6EA-46CA-B273-D2949B6FB5FB}"/>
    <dgm:cxn modelId="{2371ABD2-4C61-47CF-B0B4-5FFFB43A762D}" srcId="{E7BA92BE-C19C-4D5D-83C1-1A8E169AEB4D}" destId="{681A8D18-3DAF-43BE-8A68-5832197852D5}" srcOrd="0" destOrd="0" parTransId="{366D1E1A-B08E-436F-89B1-124A51B145A4}" sibTransId="{2FF3A3DF-D720-492E-81E6-5F3431E1AB07}"/>
    <dgm:cxn modelId="{20B22443-EEA1-449A-80ED-65C65383684E}" type="presOf" srcId="{4D1B3AE1-5189-47B7-B4ED-3F64B2BE422F}" destId="{DB45ECA9-392E-4ED2-ADD4-89C963A7B93A}" srcOrd="0" destOrd="0" presId="urn:microsoft.com/office/officeart/2005/8/layout/vList4"/>
    <dgm:cxn modelId="{A288D9A5-431D-4036-9C0E-5C90B8901FA5}" type="presOf" srcId="{CBB2B37F-907B-41D6-882E-601998B3C09D}" destId="{24A76ABF-68EC-4E83-A2E2-F0ABBB8905BC}" srcOrd="0" destOrd="0" presId="urn:microsoft.com/office/officeart/2005/8/layout/vList4"/>
    <dgm:cxn modelId="{85BBAD66-54AA-4490-B0E6-4976E55674DA}" type="presOf" srcId="{59795BEE-DDC0-4445-8973-0FCFA566EFBB}" destId="{FC7EAE75-1E81-44D8-A399-2AC98ACE4662}" srcOrd="1" destOrd="0" presId="urn:microsoft.com/office/officeart/2005/8/layout/vList4"/>
    <dgm:cxn modelId="{F92C2E44-5291-487D-BFFE-767ACFCB9A43}" type="presOf" srcId="{8E3F2692-23A7-4A81-A126-43EB3A915F34}" destId="{CE83B511-0EC8-48C9-AE34-D6DEA77229E2}" srcOrd="1" destOrd="0" presId="urn:microsoft.com/office/officeart/2005/8/layout/vList4"/>
    <dgm:cxn modelId="{0F9027D9-0E61-448F-AF2F-59EF4EBEE20C}" srcId="{E7BA92BE-C19C-4D5D-83C1-1A8E169AEB4D}" destId="{8E3F2692-23A7-4A81-A126-43EB3A915F34}" srcOrd="1" destOrd="0" parTransId="{5D88043A-81F1-4A3B-9389-994FDC094794}" sibTransId="{8DD6C965-FF4F-4943-9C91-96CBA7CF4486}"/>
    <dgm:cxn modelId="{F9DB8963-2727-4BDD-AF63-0AF543FEB0EF}" type="presOf" srcId="{E7BA92BE-C19C-4D5D-83C1-1A8E169AEB4D}" destId="{9890A743-9F64-434E-8E5F-7CAC5C3CE92D}" srcOrd="0" destOrd="0" presId="urn:microsoft.com/office/officeart/2005/8/layout/vList4"/>
    <dgm:cxn modelId="{D4B51728-62E4-4595-B050-3271684EE803}" srcId="{E7BA92BE-C19C-4D5D-83C1-1A8E169AEB4D}" destId="{CBB2B37F-907B-41D6-882E-601998B3C09D}" srcOrd="8" destOrd="0" parTransId="{339FC69F-ECB4-42D4-9ADF-FF328ACD1C95}" sibTransId="{C392CF23-84A2-4482-A209-41073BAF4998}"/>
    <dgm:cxn modelId="{0CEBF871-A8EC-4FAB-B76E-87289673056A}" type="presOf" srcId="{8D348E51-35E1-4A29-9C21-677152E8C41A}" destId="{CB10FADE-0E96-4FA5-B6F9-ABA3DE7FA00F}" srcOrd="1" destOrd="0" presId="urn:microsoft.com/office/officeart/2005/8/layout/vList4"/>
    <dgm:cxn modelId="{29709B33-DB23-4D12-83EE-1550A66FBFF8}" type="presOf" srcId="{236A9AD3-09EE-412D-988C-CE8AC6041363}" destId="{0ED01A96-7F8C-48C7-ADDB-A90991D33977}" srcOrd="1" destOrd="0" presId="urn:microsoft.com/office/officeart/2005/8/layout/vList4"/>
    <dgm:cxn modelId="{D1293066-904C-43FA-8F38-BC4953A4FA7A}" type="presOf" srcId="{4D1B3AE1-5189-47B7-B4ED-3F64B2BE422F}" destId="{77C720F0-2FE9-4C17-AD5D-4D89AF57B423}" srcOrd="1" destOrd="0" presId="urn:microsoft.com/office/officeart/2005/8/layout/vList4"/>
    <dgm:cxn modelId="{51870E87-E7D4-4A14-9112-21CF9A8C575D}" type="presOf" srcId="{379D8648-56E6-49EB-AEAB-A465D845C1CD}" destId="{4AD24150-C32F-4791-985B-001E8DB4C980}" srcOrd="0" destOrd="0" presId="urn:microsoft.com/office/officeart/2005/8/layout/vList4"/>
    <dgm:cxn modelId="{99BE0247-6154-49C5-A6E0-FB5EACDF8514}" type="presOf" srcId="{D5EC79EC-CD02-4850-8A48-D728E7AC45E9}" destId="{75F707EA-BEE9-43C9-87EC-C5DB871EFD6E}" srcOrd="1" destOrd="0" presId="urn:microsoft.com/office/officeart/2005/8/layout/vList4"/>
    <dgm:cxn modelId="{E8EFBFED-9634-45C5-AF11-654E518F89C8}" srcId="{E7BA92BE-C19C-4D5D-83C1-1A8E169AEB4D}" destId="{59795BEE-DDC0-4445-8973-0FCFA566EFBB}" srcOrd="7" destOrd="0" parTransId="{FCB64DF0-02B1-4910-8D2A-BCAC48E4B87F}" sibTransId="{E18280ED-0F23-4F22-BE08-23A93476C6A9}"/>
    <dgm:cxn modelId="{BF8A918C-EB99-4DFF-884A-8132553EEEDF}" srcId="{E7BA92BE-C19C-4D5D-83C1-1A8E169AEB4D}" destId="{379D8648-56E6-49EB-AEAB-A465D845C1CD}" srcOrd="5" destOrd="0" parTransId="{12FBF733-B4E3-41B8-A91C-CB3997294B11}" sibTransId="{8B7C66FF-DB30-46D1-8641-D30492BF79D4}"/>
    <dgm:cxn modelId="{794E3956-248A-4E55-9D8A-AB56F15D4DD3}" type="presOf" srcId="{59795BEE-DDC0-4445-8973-0FCFA566EFBB}" destId="{6C9F2F60-952D-4F43-8B7C-470275D75919}" srcOrd="0" destOrd="0" presId="urn:microsoft.com/office/officeart/2005/8/layout/vList4"/>
    <dgm:cxn modelId="{133FED2B-9345-4B0B-A59E-2C948F16BDA8}" srcId="{E7BA92BE-C19C-4D5D-83C1-1A8E169AEB4D}" destId="{4D1B3AE1-5189-47B7-B4ED-3F64B2BE422F}" srcOrd="2" destOrd="0" parTransId="{F4FE66E1-40D1-4908-920D-537776CEB0CF}" sibTransId="{03843359-02F4-4F7A-BEF6-DEDD33518297}"/>
    <dgm:cxn modelId="{DD56E4C3-5E44-414B-8FEC-0DBA27627032}" srcId="{E7BA92BE-C19C-4D5D-83C1-1A8E169AEB4D}" destId="{236A9AD3-09EE-412D-988C-CE8AC6041363}" srcOrd="3" destOrd="0" parTransId="{A3EFBBA8-473C-47F3-A17F-764883A41A37}" sibTransId="{AC953FA7-1916-43A5-A991-C06D0224CC47}"/>
    <dgm:cxn modelId="{B10B3B9D-88D7-4A22-9A34-24EFE6B44611}" type="presParOf" srcId="{9890A743-9F64-434E-8E5F-7CAC5C3CE92D}" destId="{13F83F6B-FFBD-4711-9B42-938486C9C82E}" srcOrd="0" destOrd="0" presId="urn:microsoft.com/office/officeart/2005/8/layout/vList4"/>
    <dgm:cxn modelId="{293F792D-C8C4-418D-85EB-46D89F7D04CA}" type="presParOf" srcId="{13F83F6B-FFBD-4711-9B42-938486C9C82E}" destId="{9C1EF2DA-F65E-4645-B83D-8F14A8FCA67E}" srcOrd="0" destOrd="0" presId="urn:microsoft.com/office/officeart/2005/8/layout/vList4"/>
    <dgm:cxn modelId="{F889B600-19EF-4232-B2A7-31318832ABD2}" type="presParOf" srcId="{13F83F6B-FFBD-4711-9B42-938486C9C82E}" destId="{4156E3C8-9705-4625-B954-1C5500EC1F7E}" srcOrd="1" destOrd="0" presId="urn:microsoft.com/office/officeart/2005/8/layout/vList4"/>
    <dgm:cxn modelId="{84D4FAFC-F5B4-441E-9F2E-D326C4A97F5D}" type="presParOf" srcId="{13F83F6B-FFBD-4711-9B42-938486C9C82E}" destId="{A35E4587-F488-43E9-8CD1-C8B26E193C7C}" srcOrd="2" destOrd="0" presId="urn:microsoft.com/office/officeart/2005/8/layout/vList4"/>
    <dgm:cxn modelId="{1EB07ADC-7255-4B75-B503-FB8A8F367A3F}" type="presParOf" srcId="{9890A743-9F64-434E-8E5F-7CAC5C3CE92D}" destId="{62633356-FF5A-4277-9481-40645EA302E4}" srcOrd="1" destOrd="0" presId="urn:microsoft.com/office/officeart/2005/8/layout/vList4"/>
    <dgm:cxn modelId="{28891D8D-D247-4A17-81C3-A48310BEAC54}" type="presParOf" srcId="{9890A743-9F64-434E-8E5F-7CAC5C3CE92D}" destId="{5F8B302A-627F-43CE-A59F-90BD795E0065}" srcOrd="2" destOrd="0" presId="urn:microsoft.com/office/officeart/2005/8/layout/vList4"/>
    <dgm:cxn modelId="{6304224B-BB2D-4BC7-A536-B16313F7E781}" type="presParOf" srcId="{5F8B302A-627F-43CE-A59F-90BD795E0065}" destId="{ADA09EC6-3C6B-4D39-A241-991FD95E38CD}" srcOrd="0" destOrd="0" presId="urn:microsoft.com/office/officeart/2005/8/layout/vList4"/>
    <dgm:cxn modelId="{2E453758-0D1C-4750-A90B-27D87EEEB77F}" type="presParOf" srcId="{5F8B302A-627F-43CE-A59F-90BD795E0065}" destId="{EB05AED6-829D-4EFA-85B6-FD73F51E01B2}" srcOrd="1" destOrd="0" presId="urn:microsoft.com/office/officeart/2005/8/layout/vList4"/>
    <dgm:cxn modelId="{0EC835D3-F171-4D29-A48D-D61218D36011}" type="presParOf" srcId="{5F8B302A-627F-43CE-A59F-90BD795E0065}" destId="{CE83B511-0EC8-48C9-AE34-D6DEA77229E2}" srcOrd="2" destOrd="0" presId="urn:microsoft.com/office/officeart/2005/8/layout/vList4"/>
    <dgm:cxn modelId="{E8C22AB5-6F01-43C6-AEC6-618387B09529}" type="presParOf" srcId="{9890A743-9F64-434E-8E5F-7CAC5C3CE92D}" destId="{8F3E4B39-8EE7-440B-BE0F-A9D2ACD77AD4}" srcOrd="3" destOrd="0" presId="urn:microsoft.com/office/officeart/2005/8/layout/vList4"/>
    <dgm:cxn modelId="{B1646511-AE09-4AA1-B66D-14F2F44B6017}" type="presParOf" srcId="{9890A743-9F64-434E-8E5F-7CAC5C3CE92D}" destId="{238DBC6B-7A33-4B0F-9EEB-5CE92B02E181}" srcOrd="4" destOrd="0" presId="urn:microsoft.com/office/officeart/2005/8/layout/vList4"/>
    <dgm:cxn modelId="{8959398B-2620-4F7E-A96E-5497D13FF73A}" type="presParOf" srcId="{238DBC6B-7A33-4B0F-9EEB-5CE92B02E181}" destId="{DB45ECA9-392E-4ED2-ADD4-89C963A7B93A}" srcOrd="0" destOrd="0" presId="urn:microsoft.com/office/officeart/2005/8/layout/vList4"/>
    <dgm:cxn modelId="{8786B763-F5BA-4C1D-B66C-10743448915C}" type="presParOf" srcId="{238DBC6B-7A33-4B0F-9EEB-5CE92B02E181}" destId="{683FBB26-F1C2-46DC-BCB9-4B5B8948E2DF}" srcOrd="1" destOrd="0" presId="urn:microsoft.com/office/officeart/2005/8/layout/vList4"/>
    <dgm:cxn modelId="{BF3F5C21-E6C5-418C-AAC2-BA511AA3BE8C}" type="presParOf" srcId="{238DBC6B-7A33-4B0F-9EEB-5CE92B02E181}" destId="{77C720F0-2FE9-4C17-AD5D-4D89AF57B423}" srcOrd="2" destOrd="0" presId="urn:microsoft.com/office/officeart/2005/8/layout/vList4"/>
    <dgm:cxn modelId="{4EE48DEB-D13B-479A-BC41-B59446C9963C}" type="presParOf" srcId="{9890A743-9F64-434E-8E5F-7CAC5C3CE92D}" destId="{66A2380A-F889-420A-8D71-535AA2498798}" srcOrd="5" destOrd="0" presId="urn:microsoft.com/office/officeart/2005/8/layout/vList4"/>
    <dgm:cxn modelId="{23D4D8DD-EA55-4642-BCA3-391DFBC18D60}" type="presParOf" srcId="{9890A743-9F64-434E-8E5F-7CAC5C3CE92D}" destId="{4DBF68E2-BE97-4107-8598-B63CF474EE95}" srcOrd="6" destOrd="0" presId="urn:microsoft.com/office/officeart/2005/8/layout/vList4"/>
    <dgm:cxn modelId="{45FD8E8B-0B86-42F3-95C4-EE3834FDCFC5}" type="presParOf" srcId="{4DBF68E2-BE97-4107-8598-B63CF474EE95}" destId="{334A3BA9-C29E-4DCA-86ED-24F4750BCA26}" srcOrd="0" destOrd="0" presId="urn:microsoft.com/office/officeart/2005/8/layout/vList4"/>
    <dgm:cxn modelId="{0FD2D730-F0AD-41EC-B047-71804198DF38}" type="presParOf" srcId="{4DBF68E2-BE97-4107-8598-B63CF474EE95}" destId="{87183F32-D3ED-4E22-8AFB-A54DC7F4F918}" srcOrd="1" destOrd="0" presId="urn:microsoft.com/office/officeart/2005/8/layout/vList4"/>
    <dgm:cxn modelId="{F799CED0-5A56-40B2-9E65-22C5335F07BA}" type="presParOf" srcId="{4DBF68E2-BE97-4107-8598-B63CF474EE95}" destId="{0ED01A96-7F8C-48C7-ADDB-A90991D33977}" srcOrd="2" destOrd="0" presId="urn:microsoft.com/office/officeart/2005/8/layout/vList4"/>
    <dgm:cxn modelId="{02DE78CC-9793-4FCA-A115-D4AB9EB1FEC9}" type="presParOf" srcId="{9890A743-9F64-434E-8E5F-7CAC5C3CE92D}" destId="{E9BC61CB-A81F-4C37-9D93-B897AE00AB10}" srcOrd="7" destOrd="0" presId="urn:microsoft.com/office/officeart/2005/8/layout/vList4"/>
    <dgm:cxn modelId="{EBED82AA-1904-4DD9-B3B1-21B4E1685381}" type="presParOf" srcId="{9890A743-9F64-434E-8E5F-7CAC5C3CE92D}" destId="{32C151AA-E71C-468A-AEC1-8DDC2FC6BAC3}" srcOrd="8" destOrd="0" presId="urn:microsoft.com/office/officeart/2005/8/layout/vList4"/>
    <dgm:cxn modelId="{652F4604-B8BD-4B62-ACAD-5150D21094D2}" type="presParOf" srcId="{32C151AA-E71C-468A-AEC1-8DDC2FC6BAC3}" destId="{1181644A-2FB0-4225-A392-0F366DA1D30E}" srcOrd="0" destOrd="0" presId="urn:microsoft.com/office/officeart/2005/8/layout/vList4"/>
    <dgm:cxn modelId="{E9DEE6E8-86B2-4A3C-909D-925FD09D57AE}" type="presParOf" srcId="{32C151AA-E71C-468A-AEC1-8DDC2FC6BAC3}" destId="{C51DEB0E-C843-44BA-A8A6-E32A9060889F}" srcOrd="1" destOrd="0" presId="urn:microsoft.com/office/officeart/2005/8/layout/vList4"/>
    <dgm:cxn modelId="{91EB3442-91B8-401C-BFEF-A73FC09528D2}" type="presParOf" srcId="{32C151AA-E71C-468A-AEC1-8DDC2FC6BAC3}" destId="{CB10FADE-0E96-4FA5-B6F9-ABA3DE7FA00F}" srcOrd="2" destOrd="0" presId="urn:microsoft.com/office/officeart/2005/8/layout/vList4"/>
    <dgm:cxn modelId="{A3B357EA-616D-4C88-AC3A-D4EEF3088B50}" type="presParOf" srcId="{9890A743-9F64-434E-8E5F-7CAC5C3CE92D}" destId="{83AEFCE9-BDAE-4F0B-A7AB-375FD7983339}" srcOrd="9" destOrd="0" presId="urn:microsoft.com/office/officeart/2005/8/layout/vList4"/>
    <dgm:cxn modelId="{DEDD20FB-3B9A-472F-8477-AC3590A2DA19}" type="presParOf" srcId="{9890A743-9F64-434E-8E5F-7CAC5C3CE92D}" destId="{68A72570-2661-46CE-B9DA-5E31156B8CE0}" srcOrd="10" destOrd="0" presId="urn:microsoft.com/office/officeart/2005/8/layout/vList4"/>
    <dgm:cxn modelId="{0694673D-D8DE-4919-9E1A-ED6A10267963}" type="presParOf" srcId="{68A72570-2661-46CE-B9DA-5E31156B8CE0}" destId="{4AD24150-C32F-4791-985B-001E8DB4C980}" srcOrd="0" destOrd="0" presId="urn:microsoft.com/office/officeart/2005/8/layout/vList4"/>
    <dgm:cxn modelId="{9FCC7944-88D8-46C9-9A46-4487053A5CAD}" type="presParOf" srcId="{68A72570-2661-46CE-B9DA-5E31156B8CE0}" destId="{7D5E44CA-EE76-451C-BF29-4EF20ABC27FD}" srcOrd="1" destOrd="0" presId="urn:microsoft.com/office/officeart/2005/8/layout/vList4"/>
    <dgm:cxn modelId="{0B37DB4D-F8BB-40B6-BAF4-4A61C9E1279A}" type="presParOf" srcId="{68A72570-2661-46CE-B9DA-5E31156B8CE0}" destId="{3D70E6C2-7721-4172-84C1-CCDD23B55355}" srcOrd="2" destOrd="0" presId="urn:microsoft.com/office/officeart/2005/8/layout/vList4"/>
    <dgm:cxn modelId="{88F31A7C-20B6-4CAA-9E5D-B5ADA86AA736}" type="presParOf" srcId="{9890A743-9F64-434E-8E5F-7CAC5C3CE92D}" destId="{181CF141-5BFB-4C58-882D-2EA012C42938}" srcOrd="11" destOrd="0" presId="urn:microsoft.com/office/officeart/2005/8/layout/vList4"/>
    <dgm:cxn modelId="{AA5A054F-59D2-4403-8B38-842C96E4FDF7}" type="presParOf" srcId="{9890A743-9F64-434E-8E5F-7CAC5C3CE92D}" destId="{D0365792-42C6-43F6-80A7-8DADD1F7D492}" srcOrd="12" destOrd="0" presId="urn:microsoft.com/office/officeart/2005/8/layout/vList4"/>
    <dgm:cxn modelId="{19B0C73A-C7F0-4745-B45F-0CD76A90A754}" type="presParOf" srcId="{D0365792-42C6-43F6-80A7-8DADD1F7D492}" destId="{F5FB6E26-A59D-412C-9C04-514B79FE2D72}" srcOrd="0" destOrd="0" presId="urn:microsoft.com/office/officeart/2005/8/layout/vList4"/>
    <dgm:cxn modelId="{BB15FB7A-5366-4473-AFCE-3CDEF4373B25}" type="presParOf" srcId="{D0365792-42C6-43F6-80A7-8DADD1F7D492}" destId="{F889DE83-E50E-4034-B6F2-47C426ECB7BC}" srcOrd="1" destOrd="0" presId="urn:microsoft.com/office/officeart/2005/8/layout/vList4"/>
    <dgm:cxn modelId="{03BF5A00-1363-4906-AB84-BACBCF3B157E}" type="presParOf" srcId="{D0365792-42C6-43F6-80A7-8DADD1F7D492}" destId="{75F707EA-BEE9-43C9-87EC-C5DB871EFD6E}" srcOrd="2" destOrd="0" presId="urn:microsoft.com/office/officeart/2005/8/layout/vList4"/>
    <dgm:cxn modelId="{E92AE010-F3F8-4669-B582-0CEFFCBCDF93}" type="presParOf" srcId="{9890A743-9F64-434E-8E5F-7CAC5C3CE92D}" destId="{2447CE56-3BFA-43F2-A353-4A63A19581BA}" srcOrd="13" destOrd="0" presId="urn:microsoft.com/office/officeart/2005/8/layout/vList4"/>
    <dgm:cxn modelId="{61DD81CC-D422-4E1B-965E-17EC00C0AD08}" type="presParOf" srcId="{9890A743-9F64-434E-8E5F-7CAC5C3CE92D}" destId="{E75A3EBA-8199-4D13-8A29-AB839DEAA636}" srcOrd="14" destOrd="0" presId="urn:microsoft.com/office/officeart/2005/8/layout/vList4"/>
    <dgm:cxn modelId="{D517F5DB-ED90-4233-ADA8-BC350601D342}" type="presParOf" srcId="{E75A3EBA-8199-4D13-8A29-AB839DEAA636}" destId="{6C9F2F60-952D-4F43-8B7C-470275D75919}" srcOrd="0" destOrd="0" presId="urn:microsoft.com/office/officeart/2005/8/layout/vList4"/>
    <dgm:cxn modelId="{C7BC882F-A332-4B55-935E-899EA4DCE167}" type="presParOf" srcId="{E75A3EBA-8199-4D13-8A29-AB839DEAA636}" destId="{63B77D97-B3F4-487D-B69B-A9ABF5EC90F7}" srcOrd="1" destOrd="0" presId="urn:microsoft.com/office/officeart/2005/8/layout/vList4"/>
    <dgm:cxn modelId="{9EDEE5AF-5C6A-4235-88B9-4D69DD24835F}" type="presParOf" srcId="{E75A3EBA-8199-4D13-8A29-AB839DEAA636}" destId="{FC7EAE75-1E81-44D8-A399-2AC98ACE4662}" srcOrd="2" destOrd="0" presId="urn:microsoft.com/office/officeart/2005/8/layout/vList4"/>
    <dgm:cxn modelId="{BEF7E147-4DA6-40D2-A2ED-8CAAE31FEC7C}" type="presParOf" srcId="{9890A743-9F64-434E-8E5F-7CAC5C3CE92D}" destId="{A55931B4-A4CA-44EC-A186-BB5F4A883888}" srcOrd="15" destOrd="0" presId="urn:microsoft.com/office/officeart/2005/8/layout/vList4"/>
    <dgm:cxn modelId="{BED8DF8E-4566-482A-9860-867C4C0B379A}" type="presParOf" srcId="{9890A743-9F64-434E-8E5F-7CAC5C3CE92D}" destId="{0B3BF1D2-D4FD-4DBD-B11E-3599302B6F46}" srcOrd="16" destOrd="0" presId="urn:microsoft.com/office/officeart/2005/8/layout/vList4"/>
    <dgm:cxn modelId="{09FC7F2E-B7F7-4D66-AD3F-15DE39F763BD}" type="presParOf" srcId="{0B3BF1D2-D4FD-4DBD-B11E-3599302B6F46}" destId="{24A76ABF-68EC-4E83-A2E2-F0ABBB8905BC}" srcOrd="0" destOrd="0" presId="urn:microsoft.com/office/officeart/2005/8/layout/vList4"/>
    <dgm:cxn modelId="{D59D7A12-96AA-4A16-BEC5-CDC4250F8CD3}" type="presParOf" srcId="{0B3BF1D2-D4FD-4DBD-B11E-3599302B6F46}" destId="{1071C02A-772E-4D2D-9F94-BD831A6B7B7D}" srcOrd="1" destOrd="0" presId="urn:microsoft.com/office/officeart/2005/8/layout/vList4"/>
    <dgm:cxn modelId="{221A8FB8-9B60-435C-ACE2-0E2D5C721B60}" type="presParOf" srcId="{0B3BF1D2-D4FD-4DBD-B11E-3599302B6F46}" destId="{6F713AA6-2393-45D3-9E1E-0E7782FC9C60}" srcOrd="2" destOrd="0" presId="urn:microsoft.com/office/officeart/2005/8/layout/vList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D377073-AF14-4B28-9AA0-9BB1D4CA0677}"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F3476D77-1FA0-4E21-8FAA-20F4E42E6250}">
      <dgm:prSet phldrT="[Text]"/>
      <dgm:spPr>
        <a:solidFill>
          <a:schemeClr val="accent6">
            <a:lumMod val="50000"/>
          </a:schemeClr>
        </a:solidFill>
      </dgm:spPr>
      <dgm:t>
        <a:bodyPr/>
        <a:lstStyle/>
        <a:p>
          <a:r>
            <a:rPr lang="en-US" dirty="0" smtClean="0"/>
            <a:t>Virtual Machines</a:t>
          </a:r>
          <a:endParaRPr lang="en-US" dirty="0"/>
        </a:p>
      </dgm:t>
    </dgm:pt>
    <dgm:pt modelId="{00B3C6DE-6B7E-49F2-9CEA-E6ECD90508CE}" type="parTrans" cxnId="{C3122B69-839B-4A9F-B1A1-ABC6A85402D1}">
      <dgm:prSet/>
      <dgm:spPr/>
      <dgm:t>
        <a:bodyPr/>
        <a:lstStyle/>
        <a:p>
          <a:endParaRPr lang="en-US"/>
        </a:p>
      </dgm:t>
    </dgm:pt>
    <dgm:pt modelId="{B3EED9B2-8911-42E8-947E-BFD2602A4743}" type="sibTrans" cxnId="{C3122B69-839B-4A9F-B1A1-ABC6A85402D1}">
      <dgm:prSet/>
      <dgm:spPr/>
      <dgm:t>
        <a:bodyPr/>
        <a:lstStyle/>
        <a:p>
          <a:endParaRPr lang="en-US"/>
        </a:p>
      </dgm:t>
    </dgm:pt>
    <dgm:pt modelId="{2E17A750-7995-4659-A5E0-CFFBDEBF7396}">
      <dgm:prSet phldrT="[Text]"/>
      <dgm:spPr>
        <a:solidFill>
          <a:schemeClr val="accent6">
            <a:lumMod val="50000"/>
          </a:schemeClr>
        </a:solidFill>
      </dgm:spPr>
      <dgm:t>
        <a:bodyPr/>
        <a:lstStyle/>
        <a:p>
          <a:r>
            <a:rPr lang="en-US" dirty="0" smtClean="0"/>
            <a:t>Cloud Services</a:t>
          </a:r>
          <a:endParaRPr lang="en-US" dirty="0"/>
        </a:p>
      </dgm:t>
    </dgm:pt>
    <dgm:pt modelId="{685EC68A-C011-471D-A379-C46EF647D548}" type="parTrans" cxnId="{472F6B04-DF9A-4520-9492-4FB4F813F786}">
      <dgm:prSet/>
      <dgm:spPr/>
      <dgm:t>
        <a:bodyPr/>
        <a:lstStyle/>
        <a:p>
          <a:endParaRPr lang="en-US"/>
        </a:p>
      </dgm:t>
    </dgm:pt>
    <dgm:pt modelId="{4FE7EE6A-0517-4929-AEC0-6996CBD93375}" type="sibTrans" cxnId="{472F6B04-DF9A-4520-9492-4FB4F813F786}">
      <dgm:prSet/>
      <dgm:spPr/>
      <dgm:t>
        <a:bodyPr/>
        <a:lstStyle/>
        <a:p>
          <a:endParaRPr lang="en-US"/>
        </a:p>
      </dgm:t>
    </dgm:pt>
    <dgm:pt modelId="{D32BF8E4-1955-450B-A5F7-C13A33198A7D}">
      <dgm:prSet phldrT="[Text]"/>
      <dgm:spPr>
        <a:solidFill>
          <a:schemeClr val="accent6">
            <a:lumMod val="50000"/>
          </a:schemeClr>
        </a:solidFill>
      </dgm:spPr>
      <dgm:t>
        <a:bodyPr/>
        <a:lstStyle/>
        <a:p>
          <a:r>
            <a:rPr lang="en-US" dirty="0" smtClean="0"/>
            <a:t>Service Fabric</a:t>
          </a:r>
          <a:endParaRPr lang="en-US" dirty="0"/>
        </a:p>
      </dgm:t>
    </dgm:pt>
    <dgm:pt modelId="{3ADA36CA-A915-430B-B872-BCB3D445DD28}" type="parTrans" cxnId="{CB3F7567-7208-4207-A818-F6B451DE5992}">
      <dgm:prSet/>
      <dgm:spPr/>
      <dgm:t>
        <a:bodyPr/>
        <a:lstStyle/>
        <a:p>
          <a:endParaRPr lang="en-US"/>
        </a:p>
      </dgm:t>
    </dgm:pt>
    <dgm:pt modelId="{45270307-8BE2-48F0-8A92-A94B12CEB3A6}" type="sibTrans" cxnId="{CB3F7567-7208-4207-A818-F6B451DE5992}">
      <dgm:prSet/>
      <dgm:spPr/>
      <dgm:t>
        <a:bodyPr/>
        <a:lstStyle/>
        <a:p>
          <a:endParaRPr lang="en-US"/>
        </a:p>
      </dgm:t>
    </dgm:pt>
    <dgm:pt modelId="{DBA9F8C0-65C6-495D-BDE6-FEEE2834EF7E}">
      <dgm:prSet phldrT="[Text]"/>
      <dgm:spPr>
        <a:solidFill>
          <a:schemeClr val="accent6">
            <a:lumMod val="50000"/>
          </a:schemeClr>
        </a:solidFill>
      </dgm:spPr>
      <dgm:t>
        <a:bodyPr/>
        <a:lstStyle/>
        <a:p>
          <a:r>
            <a:rPr lang="en-US" dirty="0" smtClean="0"/>
            <a:t>App Services</a:t>
          </a:r>
          <a:endParaRPr lang="en-US" dirty="0"/>
        </a:p>
      </dgm:t>
    </dgm:pt>
    <dgm:pt modelId="{18FB8C3C-1C84-4565-BD70-A6B16D76505A}" type="parTrans" cxnId="{311503D0-617E-4899-99D0-B8DE1732CE69}">
      <dgm:prSet/>
      <dgm:spPr/>
      <dgm:t>
        <a:bodyPr/>
        <a:lstStyle/>
        <a:p>
          <a:endParaRPr lang="en-US"/>
        </a:p>
      </dgm:t>
    </dgm:pt>
    <dgm:pt modelId="{CEE6B461-DCE0-40F9-98B2-D4133F9F147D}" type="sibTrans" cxnId="{311503D0-617E-4899-99D0-B8DE1732CE69}">
      <dgm:prSet/>
      <dgm:spPr/>
      <dgm:t>
        <a:bodyPr/>
        <a:lstStyle/>
        <a:p>
          <a:endParaRPr lang="en-US"/>
        </a:p>
      </dgm:t>
    </dgm:pt>
    <dgm:pt modelId="{2D43544A-B9AC-40C9-B319-AD3DC0C61337}" type="pres">
      <dgm:prSet presAssocID="{5D377073-AF14-4B28-9AA0-9BB1D4CA0677}" presName="diagram" presStyleCnt="0">
        <dgm:presLayoutVars>
          <dgm:chPref val="1"/>
          <dgm:dir/>
          <dgm:animOne val="branch"/>
          <dgm:animLvl val="lvl"/>
          <dgm:resizeHandles/>
        </dgm:presLayoutVars>
      </dgm:prSet>
      <dgm:spPr/>
      <dgm:t>
        <a:bodyPr/>
        <a:lstStyle/>
        <a:p>
          <a:endParaRPr lang="en-US"/>
        </a:p>
      </dgm:t>
    </dgm:pt>
    <dgm:pt modelId="{39F8AC40-E84D-43C9-81C0-61DD4207DD36}" type="pres">
      <dgm:prSet presAssocID="{F3476D77-1FA0-4E21-8FAA-20F4E42E6250}" presName="root" presStyleCnt="0"/>
      <dgm:spPr/>
    </dgm:pt>
    <dgm:pt modelId="{B409E808-7DFC-4D9F-98AB-2445EE28EDDE}" type="pres">
      <dgm:prSet presAssocID="{F3476D77-1FA0-4E21-8FAA-20F4E42E6250}" presName="rootComposite" presStyleCnt="0"/>
      <dgm:spPr/>
    </dgm:pt>
    <dgm:pt modelId="{7F4A1BC6-2B28-4F5B-962A-2B1B98EFACFD}" type="pres">
      <dgm:prSet presAssocID="{F3476D77-1FA0-4E21-8FAA-20F4E42E6250}" presName="rootText" presStyleLbl="node1" presStyleIdx="0" presStyleCnt="4"/>
      <dgm:spPr/>
      <dgm:t>
        <a:bodyPr/>
        <a:lstStyle/>
        <a:p>
          <a:endParaRPr lang="en-US"/>
        </a:p>
      </dgm:t>
    </dgm:pt>
    <dgm:pt modelId="{66AC2ADE-E55A-4072-9CF6-D1D81D75FB26}" type="pres">
      <dgm:prSet presAssocID="{F3476D77-1FA0-4E21-8FAA-20F4E42E6250}" presName="rootConnector" presStyleLbl="node1" presStyleIdx="0" presStyleCnt="4"/>
      <dgm:spPr/>
      <dgm:t>
        <a:bodyPr/>
        <a:lstStyle/>
        <a:p>
          <a:endParaRPr lang="en-US"/>
        </a:p>
      </dgm:t>
    </dgm:pt>
    <dgm:pt modelId="{AFA47E24-243E-4C4E-9A5A-D4B8DAB572E9}" type="pres">
      <dgm:prSet presAssocID="{F3476D77-1FA0-4E21-8FAA-20F4E42E6250}" presName="childShape" presStyleCnt="0"/>
      <dgm:spPr/>
    </dgm:pt>
    <dgm:pt modelId="{377416FB-E645-4E78-8C00-6A8964225D74}" type="pres">
      <dgm:prSet presAssocID="{2E17A750-7995-4659-A5E0-CFFBDEBF7396}" presName="root" presStyleCnt="0"/>
      <dgm:spPr/>
    </dgm:pt>
    <dgm:pt modelId="{E40813E1-F2B5-452B-B53F-7A20A3418A4C}" type="pres">
      <dgm:prSet presAssocID="{2E17A750-7995-4659-A5E0-CFFBDEBF7396}" presName="rootComposite" presStyleCnt="0"/>
      <dgm:spPr/>
    </dgm:pt>
    <dgm:pt modelId="{3F7167A6-A863-4E6E-9881-C704A194136B}" type="pres">
      <dgm:prSet presAssocID="{2E17A750-7995-4659-A5E0-CFFBDEBF7396}" presName="rootText" presStyleLbl="node1" presStyleIdx="1" presStyleCnt="4"/>
      <dgm:spPr/>
      <dgm:t>
        <a:bodyPr/>
        <a:lstStyle/>
        <a:p>
          <a:endParaRPr lang="en-US"/>
        </a:p>
      </dgm:t>
    </dgm:pt>
    <dgm:pt modelId="{01715A16-5B08-4C72-8EF4-BCD93B9FA98E}" type="pres">
      <dgm:prSet presAssocID="{2E17A750-7995-4659-A5E0-CFFBDEBF7396}" presName="rootConnector" presStyleLbl="node1" presStyleIdx="1" presStyleCnt="4"/>
      <dgm:spPr/>
      <dgm:t>
        <a:bodyPr/>
        <a:lstStyle/>
        <a:p>
          <a:endParaRPr lang="en-US"/>
        </a:p>
      </dgm:t>
    </dgm:pt>
    <dgm:pt modelId="{BE5BB2C8-FBB2-4CEE-B8F0-94B7CDAF72C8}" type="pres">
      <dgm:prSet presAssocID="{2E17A750-7995-4659-A5E0-CFFBDEBF7396}" presName="childShape" presStyleCnt="0"/>
      <dgm:spPr/>
    </dgm:pt>
    <dgm:pt modelId="{389B0189-C11A-46E2-9D7A-F34FEBA8C405}" type="pres">
      <dgm:prSet presAssocID="{D32BF8E4-1955-450B-A5F7-C13A33198A7D}" presName="root" presStyleCnt="0"/>
      <dgm:spPr/>
    </dgm:pt>
    <dgm:pt modelId="{AEA53942-365E-4A40-8C28-E35A6DAADE4E}" type="pres">
      <dgm:prSet presAssocID="{D32BF8E4-1955-450B-A5F7-C13A33198A7D}" presName="rootComposite" presStyleCnt="0"/>
      <dgm:spPr/>
    </dgm:pt>
    <dgm:pt modelId="{0CB6AAFC-B566-4EE0-8D42-EDF7FEA5BFE5}" type="pres">
      <dgm:prSet presAssocID="{D32BF8E4-1955-450B-A5F7-C13A33198A7D}" presName="rootText" presStyleLbl="node1" presStyleIdx="2" presStyleCnt="4"/>
      <dgm:spPr/>
      <dgm:t>
        <a:bodyPr/>
        <a:lstStyle/>
        <a:p>
          <a:endParaRPr lang="en-US"/>
        </a:p>
      </dgm:t>
    </dgm:pt>
    <dgm:pt modelId="{AD74946F-E35C-40C0-A6E7-F08C542BB4EE}" type="pres">
      <dgm:prSet presAssocID="{D32BF8E4-1955-450B-A5F7-C13A33198A7D}" presName="rootConnector" presStyleLbl="node1" presStyleIdx="2" presStyleCnt="4"/>
      <dgm:spPr/>
      <dgm:t>
        <a:bodyPr/>
        <a:lstStyle/>
        <a:p>
          <a:endParaRPr lang="en-US"/>
        </a:p>
      </dgm:t>
    </dgm:pt>
    <dgm:pt modelId="{D97E80E3-C093-4B34-8FA6-8C56A1272230}" type="pres">
      <dgm:prSet presAssocID="{D32BF8E4-1955-450B-A5F7-C13A33198A7D}" presName="childShape" presStyleCnt="0"/>
      <dgm:spPr/>
    </dgm:pt>
    <dgm:pt modelId="{3587BE2C-1950-4C27-8A53-5CEA3EF6BCD9}" type="pres">
      <dgm:prSet presAssocID="{DBA9F8C0-65C6-495D-BDE6-FEEE2834EF7E}" presName="root" presStyleCnt="0"/>
      <dgm:spPr/>
    </dgm:pt>
    <dgm:pt modelId="{DBF8C208-BF9B-44E3-9E7E-F534D656E51E}" type="pres">
      <dgm:prSet presAssocID="{DBA9F8C0-65C6-495D-BDE6-FEEE2834EF7E}" presName="rootComposite" presStyleCnt="0"/>
      <dgm:spPr/>
    </dgm:pt>
    <dgm:pt modelId="{2A70B861-AC76-4024-962B-0C5D5F99472E}" type="pres">
      <dgm:prSet presAssocID="{DBA9F8C0-65C6-495D-BDE6-FEEE2834EF7E}" presName="rootText" presStyleLbl="node1" presStyleIdx="3" presStyleCnt="4"/>
      <dgm:spPr/>
      <dgm:t>
        <a:bodyPr/>
        <a:lstStyle/>
        <a:p>
          <a:endParaRPr lang="en-US"/>
        </a:p>
      </dgm:t>
    </dgm:pt>
    <dgm:pt modelId="{13A3D9F7-76C6-4618-BBE7-6310D1CF2BA0}" type="pres">
      <dgm:prSet presAssocID="{DBA9F8C0-65C6-495D-BDE6-FEEE2834EF7E}" presName="rootConnector" presStyleLbl="node1" presStyleIdx="3" presStyleCnt="4"/>
      <dgm:spPr/>
      <dgm:t>
        <a:bodyPr/>
        <a:lstStyle/>
        <a:p>
          <a:endParaRPr lang="en-US"/>
        </a:p>
      </dgm:t>
    </dgm:pt>
    <dgm:pt modelId="{6F1E20E5-4B19-4652-9B78-EC6D18CCDFA2}" type="pres">
      <dgm:prSet presAssocID="{DBA9F8C0-65C6-495D-BDE6-FEEE2834EF7E}" presName="childShape" presStyleCnt="0"/>
      <dgm:spPr/>
    </dgm:pt>
  </dgm:ptLst>
  <dgm:cxnLst>
    <dgm:cxn modelId="{F963B268-DE85-4458-9595-04E661C0DB81}" type="presOf" srcId="{D32BF8E4-1955-450B-A5F7-C13A33198A7D}" destId="{0CB6AAFC-B566-4EE0-8D42-EDF7FEA5BFE5}" srcOrd="0" destOrd="0" presId="urn:microsoft.com/office/officeart/2005/8/layout/hierarchy3"/>
    <dgm:cxn modelId="{CB3F7567-7208-4207-A818-F6B451DE5992}" srcId="{5D377073-AF14-4B28-9AA0-9BB1D4CA0677}" destId="{D32BF8E4-1955-450B-A5F7-C13A33198A7D}" srcOrd="2" destOrd="0" parTransId="{3ADA36CA-A915-430B-B872-BCB3D445DD28}" sibTransId="{45270307-8BE2-48F0-8A92-A94B12CEB3A6}"/>
    <dgm:cxn modelId="{9EE8399D-B453-405C-89D3-29F1B92D0E8C}" type="presOf" srcId="{F3476D77-1FA0-4E21-8FAA-20F4E42E6250}" destId="{66AC2ADE-E55A-4072-9CF6-D1D81D75FB26}" srcOrd="1" destOrd="0" presId="urn:microsoft.com/office/officeart/2005/8/layout/hierarchy3"/>
    <dgm:cxn modelId="{04A7382E-CCC4-4C46-9EF6-9F7ED7EAC7A4}" type="presOf" srcId="{DBA9F8C0-65C6-495D-BDE6-FEEE2834EF7E}" destId="{2A70B861-AC76-4024-962B-0C5D5F99472E}" srcOrd="0" destOrd="0" presId="urn:microsoft.com/office/officeart/2005/8/layout/hierarchy3"/>
    <dgm:cxn modelId="{472F6B04-DF9A-4520-9492-4FB4F813F786}" srcId="{5D377073-AF14-4B28-9AA0-9BB1D4CA0677}" destId="{2E17A750-7995-4659-A5E0-CFFBDEBF7396}" srcOrd="1" destOrd="0" parTransId="{685EC68A-C011-471D-A379-C46EF647D548}" sibTransId="{4FE7EE6A-0517-4929-AEC0-6996CBD93375}"/>
    <dgm:cxn modelId="{1EAEC4A4-A66A-415B-8987-82A5BB088DBD}" type="presOf" srcId="{D32BF8E4-1955-450B-A5F7-C13A33198A7D}" destId="{AD74946F-E35C-40C0-A6E7-F08C542BB4EE}" srcOrd="1" destOrd="0" presId="urn:microsoft.com/office/officeart/2005/8/layout/hierarchy3"/>
    <dgm:cxn modelId="{EF9F20C3-0582-4EE5-A884-58C62ACC6C10}" type="presOf" srcId="{5D377073-AF14-4B28-9AA0-9BB1D4CA0677}" destId="{2D43544A-B9AC-40C9-B319-AD3DC0C61337}" srcOrd="0" destOrd="0" presId="urn:microsoft.com/office/officeart/2005/8/layout/hierarchy3"/>
    <dgm:cxn modelId="{4CB5D8CF-AE30-4A63-A242-8E704D73785B}" type="presOf" srcId="{2E17A750-7995-4659-A5E0-CFFBDEBF7396}" destId="{01715A16-5B08-4C72-8EF4-BCD93B9FA98E}" srcOrd="1" destOrd="0" presId="urn:microsoft.com/office/officeart/2005/8/layout/hierarchy3"/>
    <dgm:cxn modelId="{D49268E0-24F6-4B3B-BBE1-2455C11B31DE}" type="presOf" srcId="{F3476D77-1FA0-4E21-8FAA-20F4E42E6250}" destId="{7F4A1BC6-2B28-4F5B-962A-2B1B98EFACFD}" srcOrd="0" destOrd="0" presId="urn:microsoft.com/office/officeart/2005/8/layout/hierarchy3"/>
    <dgm:cxn modelId="{311503D0-617E-4899-99D0-B8DE1732CE69}" srcId="{5D377073-AF14-4B28-9AA0-9BB1D4CA0677}" destId="{DBA9F8C0-65C6-495D-BDE6-FEEE2834EF7E}" srcOrd="3" destOrd="0" parTransId="{18FB8C3C-1C84-4565-BD70-A6B16D76505A}" sibTransId="{CEE6B461-DCE0-40F9-98B2-D4133F9F147D}"/>
    <dgm:cxn modelId="{AD5CCC4D-A542-4117-94C4-BD07BCD7E43F}" type="presOf" srcId="{DBA9F8C0-65C6-495D-BDE6-FEEE2834EF7E}" destId="{13A3D9F7-76C6-4618-BBE7-6310D1CF2BA0}" srcOrd="1" destOrd="0" presId="urn:microsoft.com/office/officeart/2005/8/layout/hierarchy3"/>
    <dgm:cxn modelId="{DE4A7924-1205-4C33-AF6E-575B744CDB3C}" type="presOf" srcId="{2E17A750-7995-4659-A5E0-CFFBDEBF7396}" destId="{3F7167A6-A863-4E6E-9881-C704A194136B}" srcOrd="0" destOrd="0" presId="urn:microsoft.com/office/officeart/2005/8/layout/hierarchy3"/>
    <dgm:cxn modelId="{C3122B69-839B-4A9F-B1A1-ABC6A85402D1}" srcId="{5D377073-AF14-4B28-9AA0-9BB1D4CA0677}" destId="{F3476D77-1FA0-4E21-8FAA-20F4E42E6250}" srcOrd="0" destOrd="0" parTransId="{00B3C6DE-6B7E-49F2-9CEA-E6ECD90508CE}" sibTransId="{B3EED9B2-8911-42E8-947E-BFD2602A4743}"/>
    <dgm:cxn modelId="{11F370D7-8426-4182-85DB-F7A16A1ABEA5}" type="presParOf" srcId="{2D43544A-B9AC-40C9-B319-AD3DC0C61337}" destId="{39F8AC40-E84D-43C9-81C0-61DD4207DD36}" srcOrd="0" destOrd="0" presId="urn:microsoft.com/office/officeart/2005/8/layout/hierarchy3"/>
    <dgm:cxn modelId="{718C3856-E60C-4F2E-A6AD-D8E7F7CA1E6B}" type="presParOf" srcId="{39F8AC40-E84D-43C9-81C0-61DD4207DD36}" destId="{B409E808-7DFC-4D9F-98AB-2445EE28EDDE}" srcOrd="0" destOrd="0" presId="urn:microsoft.com/office/officeart/2005/8/layout/hierarchy3"/>
    <dgm:cxn modelId="{1A6BD273-8838-4F66-8EB2-EC8476E1121C}" type="presParOf" srcId="{B409E808-7DFC-4D9F-98AB-2445EE28EDDE}" destId="{7F4A1BC6-2B28-4F5B-962A-2B1B98EFACFD}" srcOrd="0" destOrd="0" presId="urn:microsoft.com/office/officeart/2005/8/layout/hierarchy3"/>
    <dgm:cxn modelId="{DB682E43-70A9-4DC1-872C-C2F243349AF4}" type="presParOf" srcId="{B409E808-7DFC-4D9F-98AB-2445EE28EDDE}" destId="{66AC2ADE-E55A-4072-9CF6-D1D81D75FB26}" srcOrd="1" destOrd="0" presId="urn:microsoft.com/office/officeart/2005/8/layout/hierarchy3"/>
    <dgm:cxn modelId="{ED60E3DB-7017-47BE-91B4-75ECFBE9D83A}" type="presParOf" srcId="{39F8AC40-E84D-43C9-81C0-61DD4207DD36}" destId="{AFA47E24-243E-4C4E-9A5A-D4B8DAB572E9}" srcOrd="1" destOrd="0" presId="urn:microsoft.com/office/officeart/2005/8/layout/hierarchy3"/>
    <dgm:cxn modelId="{0F02858B-DA66-4533-A367-F5083C9BEFAA}" type="presParOf" srcId="{2D43544A-B9AC-40C9-B319-AD3DC0C61337}" destId="{377416FB-E645-4E78-8C00-6A8964225D74}" srcOrd="1" destOrd="0" presId="urn:microsoft.com/office/officeart/2005/8/layout/hierarchy3"/>
    <dgm:cxn modelId="{169E5E9D-C6D4-4816-B022-2FF49C476D98}" type="presParOf" srcId="{377416FB-E645-4E78-8C00-6A8964225D74}" destId="{E40813E1-F2B5-452B-B53F-7A20A3418A4C}" srcOrd="0" destOrd="0" presId="urn:microsoft.com/office/officeart/2005/8/layout/hierarchy3"/>
    <dgm:cxn modelId="{E5E7FCE3-FC8A-4F0A-A0ED-60F9CCF9ED47}" type="presParOf" srcId="{E40813E1-F2B5-452B-B53F-7A20A3418A4C}" destId="{3F7167A6-A863-4E6E-9881-C704A194136B}" srcOrd="0" destOrd="0" presId="urn:microsoft.com/office/officeart/2005/8/layout/hierarchy3"/>
    <dgm:cxn modelId="{9945E486-D16E-4B71-8D09-384FA6E9BAC4}" type="presParOf" srcId="{E40813E1-F2B5-452B-B53F-7A20A3418A4C}" destId="{01715A16-5B08-4C72-8EF4-BCD93B9FA98E}" srcOrd="1" destOrd="0" presId="urn:microsoft.com/office/officeart/2005/8/layout/hierarchy3"/>
    <dgm:cxn modelId="{DB71BA66-F4CA-4D23-8007-E6BEFE177A13}" type="presParOf" srcId="{377416FB-E645-4E78-8C00-6A8964225D74}" destId="{BE5BB2C8-FBB2-4CEE-B8F0-94B7CDAF72C8}" srcOrd="1" destOrd="0" presId="urn:microsoft.com/office/officeart/2005/8/layout/hierarchy3"/>
    <dgm:cxn modelId="{313D41AE-2942-4648-A3C0-A900F464689B}" type="presParOf" srcId="{2D43544A-B9AC-40C9-B319-AD3DC0C61337}" destId="{389B0189-C11A-46E2-9D7A-F34FEBA8C405}" srcOrd="2" destOrd="0" presId="urn:microsoft.com/office/officeart/2005/8/layout/hierarchy3"/>
    <dgm:cxn modelId="{EFCAC51E-A638-47BE-9E91-52DA5F90B8D0}" type="presParOf" srcId="{389B0189-C11A-46E2-9D7A-F34FEBA8C405}" destId="{AEA53942-365E-4A40-8C28-E35A6DAADE4E}" srcOrd="0" destOrd="0" presId="urn:microsoft.com/office/officeart/2005/8/layout/hierarchy3"/>
    <dgm:cxn modelId="{9F034677-7F12-485D-9147-8BF0EFFFCB60}" type="presParOf" srcId="{AEA53942-365E-4A40-8C28-E35A6DAADE4E}" destId="{0CB6AAFC-B566-4EE0-8D42-EDF7FEA5BFE5}" srcOrd="0" destOrd="0" presId="urn:microsoft.com/office/officeart/2005/8/layout/hierarchy3"/>
    <dgm:cxn modelId="{E28871FE-C155-4F8D-91F4-F5840A36A826}" type="presParOf" srcId="{AEA53942-365E-4A40-8C28-E35A6DAADE4E}" destId="{AD74946F-E35C-40C0-A6E7-F08C542BB4EE}" srcOrd="1" destOrd="0" presId="urn:microsoft.com/office/officeart/2005/8/layout/hierarchy3"/>
    <dgm:cxn modelId="{9ED39D84-5FA4-45B6-9B6B-F20F2EA7D659}" type="presParOf" srcId="{389B0189-C11A-46E2-9D7A-F34FEBA8C405}" destId="{D97E80E3-C093-4B34-8FA6-8C56A1272230}" srcOrd="1" destOrd="0" presId="urn:microsoft.com/office/officeart/2005/8/layout/hierarchy3"/>
    <dgm:cxn modelId="{9ED27350-717B-4F9A-BDB9-49BF1E17154A}" type="presParOf" srcId="{2D43544A-B9AC-40C9-B319-AD3DC0C61337}" destId="{3587BE2C-1950-4C27-8A53-5CEA3EF6BCD9}" srcOrd="3" destOrd="0" presId="urn:microsoft.com/office/officeart/2005/8/layout/hierarchy3"/>
    <dgm:cxn modelId="{BFE53279-8289-4726-A178-342120D71AFB}" type="presParOf" srcId="{3587BE2C-1950-4C27-8A53-5CEA3EF6BCD9}" destId="{DBF8C208-BF9B-44E3-9E7E-F534D656E51E}" srcOrd="0" destOrd="0" presId="urn:microsoft.com/office/officeart/2005/8/layout/hierarchy3"/>
    <dgm:cxn modelId="{566C298E-3B45-4485-8968-61B7C4CFB966}" type="presParOf" srcId="{DBF8C208-BF9B-44E3-9E7E-F534D656E51E}" destId="{2A70B861-AC76-4024-962B-0C5D5F99472E}" srcOrd="0" destOrd="0" presId="urn:microsoft.com/office/officeart/2005/8/layout/hierarchy3"/>
    <dgm:cxn modelId="{A078BE9A-C42B-4A66-A839-A287A5CF359A}" type="presParOf" srcId="{DBF8C208-BF9B-44E3-9E7E-F534D656E51E}" destId="{13A3D9F7-76C6-4618-BBE7-6310D1CF2BA0}" srcOrd="1" destOrd="0" presId="urn:microsoft.com/office/officeart/2005/8/layout/hierarchy3"/>
    <dgm:cxn modelId="{A323F16D-F3A0-45FB-B9FD-D717194DBA81}" type="presParOf" srcId="{3587BE2C-1950-4C27-8A53-5CEA3EF6BCD9}" destId="{6F1E20E5-4B19-4652-9B78-EC6D18CCDFA2}"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6819B4-1DC3-4206-8AF9-218622084D1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716B26-90D7-4CB1-8314-7CFFC92AA591}" type="slidenum">
              <a:rPr lang="en-US" smtClean="0"/>
              <a:t>‹#›</a:t>
            </a:fld>
            <a:endParaRPr lang="en-US"/>
          </a:p>
        </p:txBody>
      </p:sp>
    </p:spTree>
    <p:extLst>
      <p:ext uri="{BB962C8B-B14F-4D97-AF65-F5344CB8AC3E}">
        <p14:creationId xmlns:p14="http://schemas.microsoft.com/office/powerpoint/2010/main" val="3240725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2/2015 5: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18585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223885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62540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he Value</a:t>
            </a:r>
            <a:r>
              <a:rPr lang="en-US" b="0" baseline="0" dirty="0" smtClean="0"/>
              <a:t> of Queues</a:t>
            </a:r>
            <a:endParaRPr lang="en-US" b="0" dirty="0" smtClean="0"/>
          </a:p>
          <a:p>
            <a:endParaRPr lang="en-US" dirty="0" smtClean="0"/>
          </a:p>
          <a:p>
            <a:r>
              <a:rPr lang="en-US" b="1" dirty="0" smtClean="0"/>
              <a:t>Speaker Notes</a:t>
            </a:r>
          </a:p>
          <a:p>
            <a:pPr marL="171450" indent="-171450">
              <a:buFont typeface="Arial" pitchFamily="34" charset="0"/>
              <a:buChar char="•"/>
            </a:pPr>
            <a:r>
              <a:rPr lang="en-US" baseline="0" dirty="0" smtClean="0"/>
              <a:t>Queues allow the apparent perf of app to be improved</a:t>
            </a:r>
          </a:p>
          <a:p>
            <a:pPr marL="171450" indent="-171450">
              <a:buFont typeface="Arial" pitchFamily="34" charset="0"/>
              <a:buChar char="•"/>
            </a:pPr>
            <a:r>
              <a:rPr lang="en-US" baseline="0" dirty="0" smtClean="0"/>
              <a:t>Work can be buffered in queue and performed later</a:t>
            </a:r>
          </a:p>
          <a:p>
            <a:pPr marL="171450" indent="-171450">
              <a:buFont typeface="Arial" pitchFamily="34" charset="0"/>
              <a:buChar char="•"/>
            </a:pPr>
            <a:r>
              <a:rPr lang="en-US" baseline="0" dirty="0" smtClean="0"/>
              <a:t>Allows simple async comms between roles</a:t>
            </a:r>
          </a:p>
          <a:p>
            <a:pPr marL="171450" indent="-171450">
              <a:buFont typeface="Arial" pitchFamily="34" charset="0"/>
              <a:buChar char="•"/>
            </a:pP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blogs.msdn.com/b/eugeniop/archive/2010/05/11/windows-azure-guidance-the-get-delete-pattern-for-reading-messages-from-queues.aspx</a:t>
            </a:r>
          </a:p>
          <a:p>
            <a:endParaRPr lang="en-US" dirty="0" smtClean="0"/>
          </a:p>
          <a:p>
            <a:endParaRPr lang="en-US" dirty="0" smtClean="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smtClean="0"/>
          </a:p>
          <a:p>
            <a:endParaRPr lang="en-NZ"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792429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8</a:t>
            </a:fld>
            <a:endParaRPr lang="en-US" dirty="0">
              <a:solidFill>
                <a:prstClr val="black"/>
              </a:solidFill>
              <a:latin typeface="Segoe UI"/>
            </a:endParaRPr>
          </a:p>
        </p:txBody>
      </p:sp>
    </p:spTree>
    <p:extLst>
      <p:ext uri="{BB962C8B-B14F-4D97-AF65-F5344CB8AC3E}">
        <p14:creationId xmlns:p14="http://schemas.microsoft.com/office/powerpoint/2010/main" val="3177922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2/2015 5: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709446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2015 5: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267221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Web</a:t>
            </a:r>
            <a:r>
              <a:rPr lang="en-US" baseline="0" dirty="0" smtClean="0"/>
              <a:t>, API, and Mobile all built on the same core technology.</a:t>
            </a: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331631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562861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834189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the whole (top level) Dev Ops story where Dev build </a:t>
            </a:r>
            <a:r>
              <a:rPr lang="en-US" baseline="0" dirty="0" err="1" smtClean="0"/>
              <a:t>wounderful</a:t>
            </a:r>
            <a:r>
              <a:rPr lang="en-US" baseline="0" dirty="0" smtClean="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dirty="0" err="1" smtClean="0"/>
              <a:t>devs</a:t>
            </a:r>
            <a:r>
              <a:rPr lang="en-US" baseline="0" dirty="0" smtClean="0"/>
              <a:t> can make updates.  Rinse and repeat </a:t>
            </a:r>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748150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064425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smtClean="0">
                <a:gradFill>
                  <a:gsLst>
                    <a:gs pos="0">
                      <a:srgbClr val="FFFFFF"/>
                    </a:gs>
                    <a:gs pos="100000">
                      <a:srgbClr val="FFFFFF"/>
                    </a:gs>
                  </a:gsLst>
                  <a:lin ang="5400000" scaled="0"/>
                </a:gradFill>
                <a:ea typeface="Segoe UI" pitchFamily="34" charset="0"/>
                <a:cs typeface="Segoe UI" pitchFamily="34" charset="0"/>
              </a:rPr>
              <a:t>This platform has been battle hardened</a:t>
            </a:r>
            <a:r>
              <a:rPr lang="en-US" sz="900" baseline="0" dirty="0" smtClean="0">
                <a:gradFill>
                  <a:gsLst>
                    <a:gs pos="0">
                      <a:srgbClr val="FFFFFF"/>
                    </a:gs>
                    <a:gs pos="100000">
                      <a:srgbClr val="FFFFFF"/>
                    </a:gs>
                  </a:gsLst>
                  <a:lin ang="5400000" scaled="0"/>
                </a:gradFill>
                <a:ea typeface="Segoe UI" pitchFamily="34" charset="0"/>
                <a:cs typeface="Segoe UI" pitchFamily="34" charset="0"/>
              </a:rPr>
              <a:t> in our first party services</a:t>
            </a:r>
            <a:r>
              <a:rPr lang="en-US" sz="900" dirty="0" smtClean="0">
                <a:gradFill>
                  <a:gsLst>
                    <a:gs pos="0">
                      <a:srgbClr val="FFFFFF"/>
                    </a:gs>
                    <a:gs pos="100000">
                      <a:srgbClr val="FFFFFF"/>
                    </a:gs>
                  </a:gsLst>
                  <a:lin ang="5400000" scaled="0"/>
                </a:gradFill>
                <a:ea typeface="Segoe UI" pitchFamily="34" charset="0"/>
                <a:cs typeface="Segoe UI" pitchFamily="34" charset="0"/>
              </a:rPr>
              <a:t> for over 5 year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smtClean="0">
                <a:gradFill>
                  <a:gsLst>
                    <a:gs pos="0">
                      <a:srgbClr val="FFFFFF"/>
                    </a:gs>
                    <a:gs pos="100000">
                      <a:srgbClr val="FFFFFF"/>
                    </a:gs>
                  </a:gsLst>
                  <a:lin ang="5400000" scaled="0"/>
                </a:gradFill>
                <a:ea typeface="Segoe UI" pitchFamily="34" charset="0"/>
                <a:cs typeface="Segoe UI" pitchFamily="34" charset="0"/>
              </a:rPr>
              <a:t>More importantly we are giving</a:t>
            </a:r>
            <a:r>
              <a:rPr lang="en-US" sz="900" baseline="0" dirty="0" smtClean="0">
                <a:gradFill>
                  <a:gsLst>
                    <a:gs pos="0">
                      <a:srgbClr val="FFFFFF"/>
                    </a:gs>
                    <a:gs pos="100000">
                      <a:srgbClr val="FFFFFF"/>
                    </a:gs>
                  </a:gsLst>
                  <a:lin ang="5400000" scaled="0"/>
                </a:gradFill>
                <a:ea typeface="Segoe UI" pitchFamily="34" charset="0"/>
                <a:cs typeface="Segoe UI" pitchFamily="34" charset="0"/>
              </a:rPr>
              <a:t> you not a version of the bits we use but the exact same bits that we run.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smtClean="0">
                <a:gradFill>
                  <a:gsLst>
                    <a:gs pos="0">
                      <a:srgbClr val="FFFFFF"/>
                    </a:gs>
                    <a:gs pos="100000">
                      <a:srgbClr val="FFFFFF"/>
                    </a:gs>
                  </a:gsLst>
                  <a:lin ang="5400000" scaled="0"/>
                </a:gradFill>
                <a:ea typeface="Segoe UI" pitchFamily="34" charset="0"/>
                <a:cs typeface="Segoe UI" pitchFamily="34" charset="0"/>
              </a:rPr>
              <a:t>If you find bugs in this then we have those bugs also and will fix them</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smtClean="0">
                <a:gradFill>
                  <a:gsLst>
                    <a:gs pos="0">
                      <a:srgbClr val="FFFFFF"/>
                    </a:gs>
                    <a:gs pos="100000">
                      <a:srgbClr val="FFFFFF"/>
                    </a:gs>
                  </a:gsLst>
                  <a:lin ang="5400000" scaled="0"/>
                </a:gradFill>
                <a:ea typeface="Segoe UI" pitchFamily="34" charset="0"/>
                <a:cs typeface="Segoe UI" pitchFamily="34" charset="0"/>
              </a:rPr>
              <a:t>Azure core infrastructure itself runs on top of this platform</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smtClean="0">
                <a:gradFill>
                  <a:gsLst>
                    <a:gs pos="0">
                      <a:srgbClr val="FFFFFF"/>
                    </a:gs>
                    <a:gs pos="100000">
                      <a:srgbClr val="FFFFFF"/>
                    </a:gs>
                  </a:gsLst>
                  <a:lin ang="5400000" scaled="0"/>
                </a:gradFill>
                <a:ea typeface="Segoe UI" pitchFamily="34" charset="0"/>
                <a:cs typeface="Segoe UI" pitchFamily="34" charset="0"/>
              </a:rPr>
              <a:t>A </a:t>
            </a:r>
            <a:r>
              <a:rPr lang="en-US" sz="900" baseline="0" dirty="0" err="1" smtClean="0">
                <a:gradFill>
                  <a:gsLst>
                    <a:gs pos="0">
                      <a:srgbClr val="FFFFFF"/>
                    </a:gs>
                    <a:gs pos="100000">
                      <a:srgbClr val="FFFFFF"/>
                    </a:gs>
                  </a:gsLst>
                  <a:lin ang="5400000" scaled="0"/>
                </a:gradFill>
                <a:ea typeface="Segoe UI" pitchFamily="34" charset="0"/>
                <a:cs typeface="Segoe UI" pitchFamily="34" charset="0"/>
              </a:rPr>
              <a:t>transactionally</a:t>
            </a:r>
            <a:r>
              <a:rPr lang="en-US" sz="900" baseline="0" dirty="0" smtClean="0">
                <a:gradFill>
                  <a:gsLst>
                    <a:gs pos="0">
                      <a:srgbClr val="FFFFFF"/>
                    </a:gs>
                    <a:gs pos="100000">
                      <a:srgbClr val="FFFFFF"/>
                    </a:gs>
                  </a:gsLst>
                  <a:lin ang="5400000" scaled="0"/>
                </a:gradFill>
                <a:ea typeface="Segoe UI" pitchFamily="34" charset="0"/>
                <a:cs typeface="Segoe UI" pitchFamily="34" charset="0"/>
              </a:rPr>
              <a:t> consistent database service was built using this platform</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smtClean="0">
                <a:gradFill>
                  <a:gsLst>
                    <a:gs pos="0">
                      <a:srgbClr val="FFFFFF"/>
                    </a:gs>
                    <a:gs pos="100000">
                      <a:srgbClr val="FFFFFF"/>
                    </a:gs>
                  </a:gsLst>
                  <a:lin ang="5400000" scaled="0"/>
                </a:gradFill>
                <a:ea typeface="Segoe UI" pitchFamily="34" charset="0"/>
                <a:cs typeface="Segoe UI" pitchFamily="34" charset="0"/>
              </a:rPr>
              <a:t>Low-latency high throughput consumer facing service like Bing Cortana was built across 3 data centers using this technology. They recently lost an entire datacenter and the service didn’t blink</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smtClean="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smtClean="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1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209172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55242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0/12/2015</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smtClean="0"/>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6595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5763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788712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4157919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055942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40664470"/>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0919966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3090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839201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6525692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smtClean="0"/>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150093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13802902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022711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75575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7200136"/>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191650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419507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259586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5084413"/>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886288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594722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13456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686941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154112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232697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448328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96429244"/>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55853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466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00465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smtClean="0"/>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7851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387803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9363623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478393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6608667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09286171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1264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066829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913790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364780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0/12/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958657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4954625"/>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865960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06684434"/>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0850919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66464188"/>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318693"/>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4420921"/>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86452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48132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smtClean="0"/>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smtClean="0"/>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smtClean="0"/>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0/12/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175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150436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226448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140862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7903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708450992"/>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47281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535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6657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409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69674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19427748"/>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4402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603195"/>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72182622"/>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0123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3042734"/>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4415493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77060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614741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1400101"/>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0854507"/>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8779925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560544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215182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1655715"/>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319825"/>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526879"/>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0463488"/>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40324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242313"/>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2329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479905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28146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30914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47590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692402832"/>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76227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04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7499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8951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94509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46439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80582661"/>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240742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48597792"/>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8672595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32962605"/>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0376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3835457"/>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679680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75972320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2501784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98633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7397697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6304675"/>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4337524"/>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7166719"/>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916218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459220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493354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2449231"/>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1250968"/>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766165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0191"/>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05685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485260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207842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6058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43736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59938637"/>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546501"/>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6364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7261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0332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2616299"/>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46426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86395260"/>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8485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2158674"/>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13113509"/>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3528284"/>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smtClean="0"/>
              <a:t>Title of the talk goes here</a:t>
            </a:r>
            <a:endParaRPr lang="en-US" dirty="0"/>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Presenter Name</a:t>
            </a:r>
          </a:p>
          <a:p>
            <a:r>
              <a:rPr lang="en-US" dirty="0" smtClean="0"/>
              <a:t>Presenter Title</a:t>
            </a:r>
          </a:p>
          <a:p>
            <a:r>
              <a:rPr lang="en-US" dirty="0" smtClean="0"/>
              <a:t>04/02/2014</a:t>
            </a:r>
            <a:endParaRPr lang="en-US" dirty="0"/>
          </a:p>
        </p:txBody>
      </p:sp>
    </p:spTree>
    <p:extLst>
      <p:ext uri="{BB962C8B-B14F-4D97-AF65-F5344CB8AC3E}">
        <p14:creationId xmlns:p14="http://schemas.microsoft.com/office/powerpoint/2010/main" val="3349449985"/>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1015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6368753"/>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3655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3407436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800">
              <a:solidFill>
                <a:srgbClr val="FFFFFF"/>
              </a:solidFill>
            </a:endParaRPr>
          </a:p>
        </p:txBody>
      </p:sp>
    </p:spTree>
    <p:extLst>
      <p:ext uri="{BB962C8B-B14F-4D97-AF65-F5344CB8AC3E}">
        <p14:creationId xmlns:p14="http://schemas.microsoft.com/office/powerpoint/2010/main" val="2008196194"/>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4400" y="6356351"/>
            <a:ext cx="3052064" cy="365760"/>
          </a:xfrm>
          <a:prstGeom prst="rect">
            <a:avLst/>
          </a:prstGeom>
        </p:spPr>
        <p:txBody>
          <a:bodyPr/>
          <a:lstStyle/>
          <a:p>
            <a:pPr algn="r" defTabSz="914367"/>
            <a:fld id="{85526287-B2AA-4534-9616-8C1371A5F2E4}" type="datetime1">
              <a:rPr lang="en-US" smtClean="0">
                <a:solidFill>
                  <a:srgbClr val="505050"/>
                </a:solidFill>
              </a:rPr>
              <a:pPr algn="r" defTabSz="914367"/>
              <a:t>10/12/2015</a:t>
            </a:fld>
            <a:endParaRPr lang="en-US" sz="1600">
              <a:solidFill>
                <a:srgbClr val="D5F7F6">
                  <a:shade val="50000"/>
                </a:srgbClr>
              </a:solidFill>
            </a:endParaRPr>
          </a:p>
        </p:txBody>
      </p:sp>
      <p:sp>
        <p:nvSpPr>
          <p:cNvPr id="9" name="Slide Number Placeholder 8"/>
          <p:cNvSpPr>
            <a:spLocks noGrp="1"/>
          </p:cNvSpPr>
          <p:nvPr>
            <p:ph type="sldNum" sz="quarter" idx="11"/>
          </p:nvPr>
        </p:nvSpPr>
        <p:spPr>
          <a:xfrm>
            <a:off x="816864" y="6356351"/>
            <a:ext cx="2641600" cy="365760"/>
          </a:xfrm>
          <a:prstGeom prst="rect">
            <a:avLst/>
          </a:prstGeom>
        </p:spPr>
        <p:txBody>
          <a:bodyPr/>
          <a:lstStyle/>
          <a:p>
            <a:pPr defTabSz="914367"/>
            <a:fld id="{0C2EF4DC-10BE-438D-A0C2-4265DEFE2ED1}" type="slidenum">
              <a:rPr lang="en-US" smtClean="0">
                <a:solidFill>
                  <a:srgbClr val="D5F7F6">
                    <a:shade val="50000"/>
                  </a:srgbClr>
                </a:solidFill>
              </a:rPr>
              <a:pPr defTabSz="914367"/>
              <a:t>‹#›</a:t>
            </a:fld>
            <a:endParaRPr lang="en-US" dirty="0">
              <a:solidFill>
                <a:srgbClr val="D5F7F6">
                  <a:shade val="50000"/>
                </a:srgbClr>
              </a:solidFill>
            </a:endParaRPr>
          </a:p>
        </p:txBody>
      </p:sp>
      <p:sp>
        <p:nvSpPr>
          <p:cNvPr id="10" name="Footer Placeholder 9"/>
          <p:cNvSpPr>
            <a:spLocks noGrp="1"/>
          </p:cNvSpPr>
          <p:nvPr>
            <p:ph type="ftr" sz="quarter" idx="12"/>
          </p:nvPr>
        </p:nvSpPr>
        <p:spPr>
          <a:xfrm>
            <a:off x="3864865" y="6356351"/>
            <a:ext cx="4673600" cy="365760"/>
          </a:xfrm>
          <a:prstGeom prst="rect">
            <a:avLst/>
          </a:prstGeom>
        </p:spPr>
        <p:txBody>
          <a:bodyPr/>
          <a:lstStyle/>
          <a:p>
            <a:pPr defTabSz="914367"/>
            <a:endParaRPr lang="en-US" sz="1600" dirty="0">
              <a:solidFill>
                <a:srgbClr val="D5F7F6">
                  <a:shade val="50000"/>
                </a:srgbClr>
              </a:solidFill>
            </a:endParaRPr>
          </a:p>
        </p:txBody>
      </p:sp>
    </p:spTree>
    <p:extLst>
      <p:ext uri="{BB962C8B-B14F-4D97-AF65-F5344CB8AC3E}">
        <p14:creationId xmlns:p14="http://schemas.microsoft.com/office/powerpoint/2010/main" val="336176394"/>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691998221"/>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1732219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46634881"/>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2279783584"/>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39459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377371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7067485"/>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790139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2040964"/>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87602987"/>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64613037"/>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5102466"/>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5295486"/>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778389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7828320"/>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4600589"/>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10957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706208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752225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45828"/>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62708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956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63718803"/>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971783"/>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2834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7774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7567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010243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25464330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288516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8061989"/>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283774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52355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4108422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smtClean="0"/>
              <a:t>Title of the talk goes here</a:t>
            </a:r>
            <a:endParaRPr lang="en-US" dirty="0"/>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Presenter Name</a:t>
            </a:r>
          </a:p>
          <a:p>
            <a:r>
              <a:rPr lang="en-US" dirty="0" smtClean="0"/>
              <a:t>Presenter Title</a:t>
            </a:r>
          </a:p>
          <a:p>
            <a:r>
              <a:rPr lang="en-US" dirty="0" smtClean="0"/>
              <a:t>04/02/2014</a:t>
            </a:r>
            <a:endParaRPr lang="en-US" dirty="0"/>
          </a:p>
        </p:txBody>
      </p:sp>
    </p:spTree>
    <p:extLst>
      <p:ext uri="{BB962C8B-B14F-4D97-AF65-F5344CB8AC3E}">
        <p14:creationId xmlns:p14="http://schemas.microsoft.com/office/powerpoint/2010/main" val="3805681343"/>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773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4718569"/>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392046"/>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800">
              <a:solidFill>
                <a:srgbClr val="FFFFFF"/>
              </a:solidFill>
            </a:endParaRPr>
          </a:p>
        </p:txBody>
      </p:sp>
    </p:spTree>
    <p:extLst>
      <p:ext uri="{BB962C8B-B14F-4D97-AF65-F5344CB8AC3E}">
        <p14:creationId xmlns:p14="http://schemas.microsoft.com/office/powerpoint/2010/main" val="896156399"/>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4400" y="6356351"/>
            <a:ext cx="3052064" cy="365760"/>
          </a:xfrm>
          <a:prstGeom prst="rect">
            <a:avLst/>
          </a:prstGeom>
        </p:spPr>
        <p:txBody>
          <a:bodyPr/>
          <a:lstStyle/>
          <a:p>
            <a:pPr algn="r" defTabSz="914367"/>
            <a:fld id="{85526287-B2AA-4534-9616-8C1371A5F2E4}" type="datetime1">
              <a:rPr lang="en-US" smtClean="0">
                <a:solidFill>
                  <a:srgbClr val="505050"/>
                </a:solidFill>
              </a:rPr>
              <a:pPr algn="r" defTabSz="914367"/>
              <a:t>10/12/2015</a:t>
            </a:fld>
            <a:endParaRPr lang="en-US" sz="1600">
              <a:solidFill>
                <a:srgbClr val="D5F7F6">
                  <a:shade val="50000"/>
                </a:srgbClr>
              </a:solidFill>
            </a:endParaRPr>
          </a:p>
        </p:txBody>
      </p:sp>
      <p:sp>
        <p:nvSpPr>
          <p:cNvPr id="9" name="Slide Number Placeholder 8"/>
          <p:cNvSpPr>
            <a:spLocks noGrp="1"/>
          </p:cNvSpPr>
          <p:nvPr>
            <p:ph type="sldNum" sz="quarter" idx="11"/>
          </p:nvPr>
        </p:nvSpPr>
        <p:spPr>
          <a:xfrm>
            <a:off x="816864" y="6356351"/>
            <a:ext cx="2641600" cy="365760"/>
          </a:xfrm>
          <a:prstGeom prst="rect">
            <a:avLst/>
          </a:prstGeom>
        </p:spPr>
        <p:txBody>
          <a:bodyPr/>
          <a:lstStyle/>
          <a:p>
            <a:pPr defTabSz="914367"/>
            <a:fld id="{0C2EF4DC-10BE-438D-A0C2-4265DEFE2ED1}" type="slidenum">
              <a:rPr lang="en-US" smtClean="0">
                <a:solidFill>
                  <a:srgbClr val="D5F7F6">
                    <a:shade val="50000"/>
                  </a:srgbClr>
                </a:solidFill>
              </a:rPr>
              <a:pPr defTabSz="914367"/>
              <a:t>‹#›</a:t>
            </a:fld>
            <a:endParaRPr lang="en-US" dirty="0">
              <a:solidFill>
                <a:srgbClr val="D5F7F6">
                  <a:shade val="50000"/>
                </a:srgbClr>
              </a:solidFill>
            </a:endParaRPr>
          </a:p>
        </p:txBody>
      </p:sp>
      <p:sp>
        <p:nvSpPr>
          <p:cNvPr id="10" name="Footer Placeholder 9"/>
          <p:cNvSpPr>
            <a:spLocks noGrp="1"/>
          </p:cNvSpPr>
          <p:nvPr>
            <p:ph type="ftr" sz="quarter" idx="12"/>
          </p:nvPr>
        </p:nvSpPr>
        <p:spPr>
          <a:xfrm>
            <a:off x="3864865" y="6356351"/>
            <a:ext cx="4673600" cy="365760"/>
          </a:xfrm>
          <a:prstGeom prst="rect">
            <a:avLst/>
          </a:prstGeom>
        </p:spPr>
        <p:txBody>
          <a:bodyPr/>
          <a:lstStyle/>
          <a:p>
            <a:pPr defTabSz="914367"/>
            <a:endParaRPr lang="en-US" sz="1600" dirty="0">
              <a:solidFill>
                <a:srgbClr val="D5F7F6">
                  <a:shade val="50000"/>
                </a:srgbClr>
              </a:solidFill>
            </a:endParaRPr>
          </a:p>
        </p:txBody>
      </p:sp>
    </p:spTree>
    <p:extLst>
      <p:ext uri="{BB962C8B-B14F-4D97-AF65-F5344CB8AC3E}">
        <p14:creationId xmlns:p14="http://schemas.microsoft.com/office/powerpoint/2010/main" val="1093098989"/>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44048882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4233306"/>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2820926"/>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610858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1513205891"/>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47112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370040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3662348"/>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4491061"/>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9169589"/>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9975440"/>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9505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8260957"/>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637152"/>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9785401"/>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381035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03711871"/>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21326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79720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07238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628289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1229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9568772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3610696"/>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61852"/>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9256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47442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8611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556125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253146780"/>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8041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37010470"/>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6579048"/>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2001432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smtClean="0"/>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64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smtClean="0"/>
              <a:t>Title of the talk goes here</a:t>
            </a:r>
            <a:endParaRPr lang="en-US" dirty="0"/>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Presenter Name</a:t>
            </a:r>
          </a:p>
          <a:p>
            <a:r>
              <a:rPr lang="en-US" dirty="0" smtClean="0"/>
              <a:t>Presenter Title</a:t>
            </a:r>
          </a:p>
          <a:p>
            <a:r>
              <a:rPr lang="en-US" dirty="0" smtClean="0"/>
              <a:t>04/02/2014</a:t>
            </a:r>
            <a:endParaRPr lang="en-US" dirty="0"/>
          </a:p>
        </p:txBody>
      </p:sp>
    </p:spTree>
    <p:extLst>
      <p:ext uri="{BB962C8B-B14F-4D97-AF65-F5344CB8AC3E}">
        <p14:creationId xmlns:p14="http://schemas.microsoft.com/office/powerpoint/2010/main" val="1071527578"/>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15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5704605"/>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70548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800">
              <a:solidFill>
                <a:srgbClr val="FFFFFF"/>
              </a:solidFill>
            </a:endParaRPr>
          </a:p>
        </p:txBody>
      </p:sp>
    </p:spTree>
    <p:extLst>
      <p:ext uri="{BB962C8B-B14F-4D97-AF65-F5344CB8AC3E}">
        <p14:creationId xmlns:p14="http://schemas.microsoft.com/office/powerpoint/2010/main" val="4067651958"/>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4400" y="6356351"/>
            <a:ext cx="3052064" cy="365760"/>
          </a:xfrm>
          <a:prstGeom prst="rect">
            <a:avLst/>
          </a:prstGeom>
        </p:spPr>
        <p:txBody>
          <a:bodyPr/>
          <a:lstStyle/>
          <a:p>
            <a:pPr algn="r" defTabSz="914367"/>
            <a:fld id="{85526287-B2AA-4534-9616-8C1371A5F2E4}" type="datetime1">
              <a:rPr lang="en-US" smtClean="0">
                <a:solidFill>
                  <a:srgbClr val="505050"/>
                </a:solidFill>
              </a:rPr>
              <a:pPr algn="r" defTabSz="914367"/>
              <a:t>10/12/2015</a:t>
            </a:fld>
            <a:endParaRPr lang="en-US" sz="1600">
              <a:solidFill>
                <a:srgbClr val="D5F7F6">
                  <a:shade val="50000"/>
                </a:srgbClr>
              </a:solidFill>
            </a:endParaRPr>
          </a:p>
        </p:txBody>
      </p:sp>
      <p:sp>
        <p:nvSpPr>
          <p:cNvPr id="9" name="Slide Number Placeholder 8"/>
          <p:cNvSpPr>
            <a:spLocks noGrp="1"/>
          </p:cNvSpPr>
          <p:nvPr>
            <p:ph type="sldNum" sz="quarter" idx="11"/>
          </p:nvPr>
        </p:nvSpPr>
        <p:spPr>
          <a:xfrm>
            <a:off x="816864" y="6356351"/>
            <a:ext cx="2641600" cy="365760"/>
          </a:xfrm>
          <a:prstGeom prst="rect">
            <a:avLst/>
          </a:prstGeom>
        </p:spPr>
        <p:txBody>
          <a:bodyPr/>
          <a:lstStyle/>
          <a:p>
            <a:pPr defTabSz="914367"/>
            <a:fld id="{0C2EF4DC-10BE-438D-A0C2-4265DEFE2ED1}" type="slidenum">
              <a:rPr lang="en-US" smtClean="0">
                <a:solidFill>
                  <a:srgbClr val="D5F7F6">
                    <a:shade val="50000"/>
                  </a:srgbClr>
                </a:solidFill>
              </a:rPr>
              <a:pPr defTabSz="914367"/>
              <a:t>‹#›</a:t>
            </a:fld>
            <a:endParaRPr lang="en-US" dirty="0">
              <a:solidFill>
                <a:srgbClr val="D5F7F6">
                  <a:shade val="50000"/>
                </a:srgbClr>
              </a:solidFill>
            </a:endParaRPr>
          </a:p>
        </p:txBody>
      </p:sp>
      <p:sp>
        <p:nvSpPr>
          <p:cNvPr id="10" name="Footer Placeholder 9"/>
          <p:cNvSpPr>
            <a:spLocks noGrp="1"/>
          </p:cNvSpPr>
          <p:nvPr>
            <p:ph type="ftr" sz="quarter" idx="12"/>
          </p:nvPr>
        </p:nvSpPr>
        <p:spPr>
          <a:xfrm>
            <a:off x="3864865" y="6356351"/>
            <a:ext cx="4673600" cy="365760"/>
          </a:xfrm>
          <a:prstGeom prst="rect">
            <a:avLst/>
          </a:prstGeom>
        </p:spPr>
        <p:txBody>
          <a:bodyPr/>
          <a:lstStyle/>
          <a:p>
            <a:pPr defTabSz="914367"/>
            <a:endParaRPr lang="en-US" sz="1600" dirty="0">
              <a:solidFill>
                <a:srgbClr val="D5F7F6">
                  <a:shade val="50000"/>
                </a:srgbClr>
              </a:solidFill>
            </a:endParaRPr>
          </a:p>
        </p:txBody>
      </p:sp>
    </p:spTree>
    <p:extLst>
      <p:ext uri="{BB962C8B-B14F-4D97-AF65-F5344CB8AC3E}">
        <p14:creationId xmlns:p14="http://schemas.microsoft.com/office/powerpoint/2010/main" val="3910428816"/>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381369231"/>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03416692"/>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1380059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43205019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572633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276554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525383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0940561"/>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7641887"/>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06793132"/>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79116867"/>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1792972"/>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560023"/>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99247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63886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833783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36255451"/>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07029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925940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382373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20754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880371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758498896"/>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069303"/>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3364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68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124552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3049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749481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381447397"/>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415180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03763320"/>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3589465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79302529"/>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smtClean="0"/>
              <a:t>Title of the talk goes here</a:t>
            </a:r>
            <a:endParaRPr lang="en-US" dirty="0"/>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Presenter Name</a:t>
            </a:r>
          </a:p>
          <a:p>
            <a:r>
              <a:rPr lang="en-US" dirty="0" smtClean="0"/>
              <a:t>Presenter Title</a:t>
            </a:r>
          </a:p>
          <a:p>
            <a:r>
              <a:rPr lang="en-US" dirty="0" smtClean="0"/>
              <a:t>04/02/2014</a:t>
            </a:r>
            <a:endParaRPr lang="en-US" dirty="0"/>
          </a:p>
        </p:txBody>
      </p:sp>
    </p:spTree>
    <p:extLst>
      <p:ext uri="{BB962C8B-B14F-4D97-AF65-F5344CB8AC3E}">
        <p14:creationId xmlns:p14="http://schemas.microsoft.com/office/powerpoint/2010/main" val="575605821"/>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654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700271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49297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47654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800">
              <a:solidFill>
                <a:srgbClr val="FFFFFF"/>
              </a:solidFill>
            </a:endParaRPr>
          </a:p>
        </p:txBody>
      </p:sp>
    </p:spTree>
    <p:extLst>
      <p:ext uri="{BB962C8B-B14F-4D97-AF65-F5344CB8AC3E}">
        <p14:creationId xmlns:p14="http://schemas.microsoft.com/office/powerpoint/2010/main" val="4189478230"/>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4400" y="6356351"/>
            <a:ext cx="3052064" cy="365760"/>
          </a:xfrm>
          <a:prstGeom prst="rect">
            <a:avLst/>
          </a:prstGeom>
        </p:spPr>
        <p:txBody>
          <a:bodyPr/>
          <a:lstStyle/>
          <a:p>
            <a:pPr algn="r" defTabSz="914367"/>
            <a:fld id="{85526287-B2AA-4534-9616-8C1371A5F2E4}" type="datetime1">
              <a:rPr lang="en-US" smtClean="0">
                <a:solidFill>
                  <a:srgbClr val="505050"/>
                </a:solidFill>
              </a:rPr>
              <a:pPr algn="r" defTabSz="914367"/>
              <a:t>10/12/2015</a:t>
            </a:fld>
            <a:endParaRPr lang="en-US" sz="1600">
              <a:solidFill>
                <a:srgbClr val="D5F7F6">
                  <a:shade val="50000"/>
                </a:srgbClr>
              </a:solidFill>
            </a:endParaRPr>
          </a:p>
        </p:txBody>
      </p:sp>
      <p:sp>
        <p:nvSpPr>
          <p:cNvPr id="9" name="Slide Number Placeholder 8"/>
          <p:cNvSpPr>
            <a:spLocks noGrp="1"/>
          </p:cNvSpPr>
          <p:nvPr>
            <p:ph type="sldNum" sz="quarter" idx="11"/>
          </p:nvPr>
        </p:nvSpPr>
        <p:spPr>
          <a:xfrm>
            <a:off x="816864" y="6356351"/>
            <a:ext cx="2641600" cy="365760"/>
          </a:xfrm>
          <a:prstGeom prst="rect">
            <a:avLst/>
          </a:prstGeom>
        </p:spPr>
        <p:txBody>
          <a:bodyPr/>
          <a:lstStyle/>
          <a:p>
            <a:pPr defTabSz="914367"/>
            <a:fld id="{0C2EF4DC-10BE-438D-A0C2-4265DEFE2ED1}" type="slidenum">
              <a:rPr lang="en-US" smtClean="0">
                <a:solidFill>
                  <a:srgbClr val="D5F7F6">
                    <a:shade val="50000"/>
                  </a:srgbClr>
                </a:solidFill>
              </a:rPr>
              <a:pPr defTabSz="914367"/>
              <a:t>‹#›</a:t>
            </a:fld>
            <a:endParaRPr lang="en-US" dirty="0">
              <a:solidFill>
                <a:srgbClr val="D5F7F6">
                  <a:shade val="50000"/>
                </a:srgbClr>
              </a:solidFill>
            </a:endParaRPr>
          </a:p>
        </p:txBody>
      </p:sp>
      <p:sp>
        <p:nvSpPr>
          <p:cNvPr id="10" name="Footer Placeholder 9"/>
          <p:cNvSpPr>
            <a:spLocks noGrp="1"/>
          </p:cNvSpPr>
          <p:nvPr>
            <p:ph type="ftr" sz="quarter" idx="12"/>
          </p:nvPr>
        </p:nvSpPr>
        <p:spPr>
          <a:xfrm>
            <a:off x="3864865" y="6356351"/>
            <a:ext cx="4673600" cy="365760"/>
          </a:xfrm>
          <a:prstGeom prst="rect">
            <a:avLst/>
          </a:prstGeom>
        </p:spPr>
        <p:txBody>
          <a:bodyPr/>
          <a:lstStyle/>
          <a:p>
            <a:pPr defTabSz="914367"/>
            <a:endParaRPr lang="en-US" sz="1600" dirty="0">
              <a:solidFill>
                <a:srgbClr val="D5F7F6">
                  <a:shade val="50000"/>
                </a:srgbClr>
              </a:solidFill>
            </a:endParaRPr>
          </a:p>
        </p:txBody>
      </p:sp>
    </p:spTree>
    <p:extLst>
      <p:ext uri="{BB962C8B-B14F-4D97-AF65-F5344CB8AC3E}">
        <p14:creationId xmlns:p14="http://schemas.microsoft.com/office/powerpoint/2010/main" val="3234440556"/>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04928401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0071666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3924654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72317633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7738330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6126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95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9920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6756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37978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0928567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18373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1075495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9284498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7414277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2924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7571363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1426076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82182153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0/12/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360714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1774452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715768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062626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110536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14187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028439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04077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818973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143091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0/12/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86173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78181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72565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84485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42076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87421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8972766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178693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280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451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0/12/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1359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8309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4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8693814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48080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43393571"/>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8" name="Text Placeholder 7"/>
          <p:cNvSpPr>
            <a:spLocks noGrp="1"/>
          </p:cNvSpPr>
          <p:nvPr>
            <p:ph type="body" sz="quarter" idx="13" hasCustomPrompt="1"/>
          </p:nvPr>
        </p:nvSpPr>
        <p:spPr>
          <a:xfrm>
            <a:off x="269239" y="2084174"/>
            <a:ext cx="8964248" cy="268574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8247758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7736612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474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1"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7" y="1350964"/>
            <a:ext cx="6868862" cy="724246"/>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2"/>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5440691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20255878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425880363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Rectangle 1"/>
          <p:cNvSpPr/>
          <p:nvPr userDrawn="1"/>
        </p:nvSpPr>
        <p:spPr bwMode="auto">
          <a:xfrm>
            <a:off x="269239" y="2084172"/>
            <a:ext cx="6274974" cy="3496553"/>
          </a:xfrm>
          <a:prstGeom prst="rect">
            <a:avLst/>
          </a:prstGeom>
          <a:solidFill>
            <a:srgbClr val="107C1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950938" y="6001381"/>
            <a:ext cx="1792850" cy="386208"/>
          </a:xfrm>
          <a:prstGeom prst="rect">
            <a:avLst/>
          </a:prstGeom>
        </p:spPr>
      </p:pic>
    </p:spTree>
    <p:extLst>
      <p:ext uri="{BB962C8B-B14F-4D97-AF65-F5344CB8AC3E}">
        <p14:creationId xmlns:p14="http://schemas.microsoft.com/office/powerpoint/2010/main" val="336828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70360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61456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624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382849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6607280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728027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91881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709314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857828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691811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39625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000075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587648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83536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34177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81597080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21362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59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9" Type="http://schemas.openxmlformats.org/officeDocument/2006/relationships/image" Target="../media/image3.png"/><Relationship Id="rId3" Type="http://schemas.openxmlformats.org/officeDocument/2006/relationships/slideLayout" Target="../slideLayouts/slideLayout275.xml"/><Relationship Id="rId21" Type="http://schemas.openxmlformats.org/officeDocument/2006/relationships/slideLayout" Target="../slideLayouts/slideLayout293.xml"/><Relationship Id="rId34" Type="http://schemas.openxmlformats.org/officeDocument/2006/relationships/slideLayout" Target="../slideLayouts/slideLayout306.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slideLayout" Target="../slideLayouts/slideLayout305.xml"/><Relationship Id="rId38" Type="http://schemas.openxmlformats.org/officeDocument/2006/relationships/theme" Target="../theme/theme10.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slideLayout" Target="../slideLayouts/slideLayout30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slideLayout" Target="../slideLayouts/slideLayout304.xml"/><Relationship Id="rId37" Type="http://schemas.openxmlformats.org/officeDocument/2006/relationships/slideLayout" Target="../slideLayouts/slideLayout309.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36" Type="http://schemas.openxmlformats.org/officeDocument/2006/relationships/slideLayout" Target="../slideLayouts/slideLayout308.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slideLayout" Target="../slideLayouts/slideLayout303.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 Id="rId35" Type="http://schemas.openxmlformats.org/officeDocument/2006/relationships/slideLayout" Target="../slideLayouts/slideLayout3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9" Type="http://schemas.openxmlformats.org/officeDocument/2006/relationships/image" Target="../media/image3.png"/><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slideLayout" Target="../slideLayouts/slideLayout343.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38" Type="http://schemas.openxmlformats.org/officeDocument/2006/relationships/theme" Target="../theme/theme11.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37" Type="http://schemas.openxmlformats.org/officeDocument/2006/relationships/slideLayout" Target="../slideLayouts/slideLayout346.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36" Type="http://schemas.openxmlformats.org/officeDocument/2006/relationships/slideLayout" Target="../slideLayouts/slideLayout345.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35"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image" Target="../media/image3.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image" Target="../media/image3.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heme" Target="../theme/theme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image" Target="../media/image3.pn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image" Target="../media/image3.png"/><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image" Target="../media/image3.png"/><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image" Target="../media/image3.png"/><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theme" Target="../theme/theme7.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image" Target="../media/image3.png"/><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theme" Target="../theme/theme8.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9" Type="http://schemas.openxmlformats.org/officeDocument/2006/relationships/image" Target="../media/image3.png"/><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9.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20">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0/12/2015</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 id="2147483733" r:id="rId18"/>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73253879"/>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0" r:id="rId28"/>
    <p:sldLayoutId id="2147483961" r:id="rId29"/>
    <p:sldLayoutId id="2147483962" r:id="rId30"/>
    <p:sldLayoutId id="2147483963" r:id="rId31"/>
    <p:sldLayoutId id="2147483964" r:id="rId32"/>
    <p:sldLayoutId id="2147483965" r:id="rId33"/>
    <p:sldLayoutId id="2147483966" r:id="rId34"/>
    <p:sldLayoutId id="2147483967" r:id="rId35"/>
    <p:sldLayoutId id="2147483968" r:id="rId36"/>
    <p:sldLayoutId id="2147483969"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64911262"/>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9487582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5729036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3547854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8626017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2494011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58044730"/>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 id="2147483854" r:id="rId30"/>
    <p:sldLayoutId id="2147483855"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2664894"/>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98340173"/>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 id="2147483922" r:id="rId28"/>
    <p:sldLayoutId id="2147483923" r:id="rId29"/>
    <p:sldLayoutId id="2147483924" r:id="rId30"/>
    <p:sldLayoutId id="2147483925" r:id="rId31"/>
    <p:sldLayoutId id="2147483926" r:id="rId32"/>
    <p:sldLayoutId id="2147483927" r:id="rId33"/>
    <p:sldLayoutId id="2147483928" r:id="rId34"/>
    <p:sldLayoutId id="2147483929" r:id="rId35"/>
    <p:sldLayoutId id="2147483930" r:id="rId36"/>
    <p:sldLayoutId id="2147483931"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3.xml"/><Relationship Id="rId1" Type="http://schemas.openxmlformats.org/officeDocument/2006/relationships/slideLayout" Target="../slideLayouts/slideLayout91.x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image" Target="../media/image72.emf"/></Relationships>
</file>

<file path=ppt/slides/_rels/slide11.xml.rels><?xml version="1.0" encoding="UTF-8" standalone="yes"?>
<Relationships xmlns="http://schemas.openxmlformats.org/package/2006/relationships"><Relationship Id="rId8" Type="http://schemas.openxmlformats.org/officeDocument/2006/relationships/image" Target="../media/image81.emf"/><Relationship Id="rId13" Type="http://schemas.openxmlformats.org/officeDocument/2006/relationships/image" Target="../media/image86.emf"/><Relationship Id="rId3" Type="http://schemas.openxmlformats.org/officeDocument/2006/relationships/image" Target="../media/image76.emf"/><Relationship Id="rId7" Type="http://schemas.openxmlformats.org/officeDocument/2006/relationships/image" Target="../media/image80.emf"/><Relationship Id="rId12" Type="http://schemas.openxmlformats.org/officeDocument/2006/relationships/image" Target="../media/image85.emf"/><Relationship Id="rId2" Type="http://schemas.openxmlformats.org/officeDocument/2006/relationships/image" Target="../media/image75.emf"/><Relationship Id="rId16" Type="http://schemas.openxmlformats.org/officeDocument/2006/relationships/image" Target="../media/image89.emf"/><Relationship Id="rId1" Type="http://schemas.openxmlformats.org/officeDocument/2006/relationships/slideLayout" Target="../slideLayouts/slideLayout230.xml"/><Relationship Id="rId6" Type="http://schemas.openxmlformats.org/officeDocument/2006/relationships/image" Target="../media/image79.emf"/><Relationship Id="rId11" Type="http://schemas.openxmlformats.org/officeDocument/2006/relationships/image" Target="../media/image84.png"/><Relationship Id="rId5" Type="http://schemas.openxmlformats.org/officeDocument/2006/relationships/image" Target="../media/image78.emf"/><Relationship Id="rId15" Type="http://schemas.openxmlformats.org/officeDocument/2006/relationships/image" Target="../media/image88.emf"/><Relationship Id="rId10" Type="http://schemas.openxmlformats.org/officeDocument/2006/relationships/image" Target="../media/image83.emf"/><Relationship Id="rId4" Type="http://schemas.openxmlformats.org/officeDocument/2006/relationships/image" Target="../media/image77.emf"/><Relationship Id="rId9" Type="http://schemas.openxmlformats.org/officeDocument/2006/relationships/image" Target="../media/image82.emf"/><Relationship Id="rId14" Type="http://schemas.openxmlformats.org/officeDocument/2006/relationships/image" Target="../media/image87.emf"/></Relationships>
</file>

<file path=ppt/slides/_rels/slide12.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09.xml"/></Relationships>
</file>

<file path=ppt/slides/_rels/slide13.xml.rels><?xml version="1.0" encoding="UTF-8" standalone="yes"?>
<Relationships xmlns="http://schemas.openxmlformats.org/package/2006/relationships"><Relationship Id="rId8" Type="http://schemas.openxmlformats.org/officeDocument/2006/relationships/image" Target="../media/image79.emf"/><Relationship Id="rId13" Type="http://schemas.openxmlformats.org/officeDocument/2006/relationships/image" Target="../media/image83.emf"/><Relationship Id="rId18" Type="http://schemas.openxmlformats.org/officeDocument/2006/relationships/image" Target="../media/image96.emf"/><Relationship Id="rId3" Type="http://schemas.openxmlformats.org/officeDocument/2006/relationships/image" Target="../media/image75.emf"/><Relationship Id="rId21" Type="http://schemas.openxmlformats.org/officeDocument/2006/relationships/image" Target="../media/image89.emf"/><Relationship Id="rId7" Type="http://schemas.openxmlformats.org/officeDocument/2006/relationships/image" Target="../media/image80.emf"/><Relationship Id="rId12" Type="http://schemas.openxmlformats.org/officeDocument/2006/relationships/image" Target="../media/image88.emf"/><Relationship Id="rId17" Type="http://schemas.openxmlformats.org/officeDocument/2006/relationships/image" Target="../media/image95.emf"/><Relationship Id="rId2" Type="http://schemas.openxmlformats.org/officeDocument/2006/relationships/image" Target="../media/image76.emf"/><Relationship Id="rId16" Type="http://schemas.openxmlformats.org/officeDocument/2006/relationships/image" Target="../media/image87.emf"/><Relationship Id="rId20" Type="http://schemas.openxmlformats.org/officeDocument/2006/relationships/image" Target="../media/image82.emf"/><Relationship Id="rId1" Type="http://schemas.openxmlformats.org/officeDocument/2006/relationships/slideLayout" Target="../slideLayouts/slideLayout229.xml"/><Relationship Id="rId6" Type="http://schemas.openxmlformats.org/officeDocument/2006/relationships/image" Target="../media/image93.emf"/><Relationship Id="rId11" Type="http://schemas.openxmlformats.org/officeDocument/2006/relationships/image" Target="../media/image85.emf"/><Relationship Id="rId5" Type="http://schemas.openxmlformats.org/officeDocument/2006/relationships/image" Target="../media/image92.emf"/><Relationship Id="rId15" Type="http://schemas.openxmlformats.org/officeDocument/2006/relationships/image" Target="../media/image86.emf"/><Relationship Id="rId10" Type="http://schemas.openxmlformats.org/officeDocument/2006/relationships/image" Target="../media/image81.emf"/><Relationship Id="rId19" Type="http://schemas.openxmlformats.org/officeDocument/2006/relationships/image" Target="../media/image97.emf"/><Relationship Id="rId4" Type="http://schemas.openxmlformats.org/officeDocument/2006/relationships/image" Target="../media/image91.emf"/><Relationship Id="rId9" Type="http://schemas.openxmlformats.org/officeDocument/2006/relationships/image" Target="../media/image94.emf"/><Relationship Id="rId14" Type="http://schemas.openxmlformats.org/officeDocument/2006/relationships/image" Target="../media/image84.png"/></Relationships>
</file>

<file path=ppt/slides/_rels/slide14.xml.rels><?xml version="1.0" encoding="UTF-8" standalone="yes"?>
<Relationships xmlns="http://schemas.openxmlformats.org/package/2006/relationships"><Relationship Id="rId8" Type="http://schemas.openxmlformats.org/officeDocument/2006/relationships/image" Target="../media/image80.emf"/><Relationship Id="rId13" Type="http://schemas.openxmlformats.org/officeDocument/2006/relationships/image" Target="../media/image85.emf"/><Relationship Id="rId18" Type="http://schemas.openxmlformats.org/officeDocument/2006/relationships/image" Target="../media/image86.emf"/><Relationship Id="rId3" Type="http://schemas.openxmlformats.org/officeDocument/2006/relationships/image" Target="../media/image82.emf"/><Relationship Id="rId21" Type="http://schemas.openxmlformats.org/officeDocument/2006/relationships/image" Target="../media/image99.emf"/><Relationship Id="rId7" Type="http://schemas.openxmlformats.org/officeDocument/2006/relationships/image" Target="../media/image79.emf"/><Relationship Id="rId12" Type="http://schemas.openxmlformats.org/officeDocument/2006/relationships/image" Target="../media/image81.emf"/><Relationship Id="rId17" Type="http://schemas.openxmlformats.org/officeDocument/2006/relationships/image" Target="../media/image98.emf"/><Relationship Id="rId2" Type="http://schemas.openxmlformats.org/officeDocument/2006/relationships/notesSlide" Target="../notesSlides/notesSlide4.xml"/><Relationship Id="rId16" Type="http://schemas.openxmlformats.org/officeDocument/2006/relationships/image" Target="../media/image84.png"/><Relationship Id="rId20" Type="http://schemas.openxmlformats.org/officeDocument/2006/relationships/image" Target="../media/image89.emf"/><Relationship Id="rId1" Type="http://schemas.openxmlformats.org/officeDocument/2006/relationships/slideLayout" Target="../slideLayouts/slideLayout229.xml"/><Relationship Id="rId6" Type="http://schemas.openxmlformats.org/officeDocument/2006/relationships/image" Target="../media/image76.emf"/><Relationship Id="rId11" Type="http://schemas.openxmlformats.org/officeDocument/2006/relationships/image" Target="../media/image77.emf"/><Relationship Id="rId24" Type="http://schemas.openxmlformats.org/officeDocument/2006/relationships/image" Target="../media/image102.emf"/><Relationship Id="rId5" Type="http://schemas.openxmlformats.org/officeDocument/2006/relationships/image" Target="../media/image78.emf"/><Relationship Id="rId15" Type="http://schemas.openxmlformats.org/officeDocument/2006/relationships/image" Target="../media/image83.emf"/><Relationship Id="rId23" Type="http://schemas.openxmlformats.org/officeDocument/2006/relationships/image" Target="../media/image101.emf"/><Relationship Id="rId10" Type="http://schemas.openxmlformats.org/officeDocument/2006/relationships/image" Target="../media/image75.emf"/><Relationship Id="rId19" Type="http://schemas.openxmlformats.org/officeDocument/2006/relationships/image" Target="../media/image87.emf"/><Relationship Id="rId4" Type="http://schemas.openxmlformats.org/officeDocument/2006/relationships/image" Target="../media/image91.emf"/><Relationship Id="rId9" Type="http://schemas.openxmlformats.org/officeDocument/2006/relationships/image" Target="../media/image94.emf"/><Relationship Id="rId14" Type="http://schemas.openxmlformats.org/officeDocument/2006/relationships/image" Target="../media/image88.emf"/><Relationship Id="rId22" Type="http://schemas.openxmlformats.org/officeDocument/2006/relationships/image" Target="../media/image100.emf"/></Relationships>
</file>

<file path=ppt/slides/_rels/slide15.xml.rels><?xml version="1.0" encoding="UTF-8" standalone="yes"?>
<Relationships xmlns="http://schemas.openxmlformats.org/package/2006/relationships"><Relationship Id="rId8" Type="http://schemas.openxmlformats.org/officeDocument/2006/relationships/image" Target="../media/image85.emf"/><Relationship Id="rId13" Type="http://schemas.openxmlformats.org/officeDocument/2006/relationships/image" Target="../media/image87.emf"/><Relationship Id="rId3" Type="http://schemas.openxmlformats.org/officeDocument/2006/relationships/image" Target="../media/image94.emf"/><Relationship Id="rId7" Type="http://schemas.openxmlformats.org/officeDocument/2006/relationships/image" Target="../media/image81.emf"/><Relationship Id="rId12" Type="http://schemas.openxmlformats.org/officeDocument/2006/relationships/image" Target="../media/image86.emf"/><Relationship Id="rId17" Type="http://schemas.openxmlformats.org/officeDocument/2006/relationships/image" Target="../media/image89.emf"/><Relationship Id="rId2" Type="http://schemas.openxmlformats.org/officeDocument/2006/relationships/image" Target="../media/image76.emf"/><Relationship Id="rId16" Type="http://schemas.openxmlformats.org/officeDocument/2006/relationships/image" Target="../media/image82.emf"/><Relationship Id="rId1" Type="http://schemas.openxmlformats.org/officeDocument/2006/relationships/slideLayout" Target="../slideLayouts/slideLayout229.xml"/><Relationship Id="rId6" Type="http://schemas.openxmlformats.org/officeDocument/2006/relationships/image" Target="../media/image78.emf"/><Relationship Id="rId11" Type="http://schemas.openxmlformats.org/officeDocument/2006/relationships/image" Target="../media/image84.png"/><Relationship Id="rId5" Type="http://schemas.openxmlformats.org/officeDocument/2006/relationships/image" Target="../media/image77.emf"/><Relationship Id="rId15" Type="http://schemas.openxmlformats.org/officeDocument/2006/relationships/image" Target="../media/image80.emf"/><Relationship Id="rId10" Type="http://schemas.openxmlformats.org/officeDocument/2006/relationships/image" Target="../media/image83.emf"/><Relationship Id="rId4" Type="http://schemas.openxmlformats.org/officeDocument/2006/relationships/image" Target="../media/image75.emf"/><Relationship Id="rId9" Type="http://schemas.openxmlformats.org/officeDocument/2006/relationships/image" Target="../media/image88.emf"/><Relationship Id="rId14" Type="http://schemas.openxmlformats.org/officeDocument/2006/relationships/image" Target="../media/image79.emf"/></Relationships>
</file>

<file path=ppt/slides/_rels/slide16.xml.rels><?xml version="1.0" encoding="UTF-8" standalone="yes"?>
<Relationships xmlns="http://schemas.openxmlformats.org/package/2006/relationships"><Relationship Id="rId8" Type="http://schemas.openxmlformats.org/officeDocument/2006/relationships/image" Target="../media/image81.emf"/><Relationship Id="rId13" Type="http://schemas.openxmlformats.org/officeDocument/2006/relationships/image" Target="../media/image98.emf"/><Relationship Id="rId18" Type="http://schemas.openxmlformats.org/officeDocument/2006/relationships/image" Target="../media/image105.emf"/><Relationship Id="rId3" Type="http://schemas.openxmlformats.org/officeDocument/2006/relationships/image" Target="../media/image94.emf"/><Relationship Id="rId21" Type="http://schemas.openxmlformats.org/officeDocument/2006/relationships/image" Target="../media/image100.emf"/><Relationship Id="rId7" Type="http://schemas.openxmlformats.org/officeDocument/2006/relationships/image" Target="../media/image76.emf"/><Relationship Id="rId12" Type="http://schemas.openxmlformats.org/officeDocument/2006/relationships/image" Target="../media/image84.png"/><Relationship Id="rId17" Type="http://schemas.openxmlformats.org/officeDocument/2006/relationships/image" Target="../media/image104.emf"/><Relationship Id="rId2" Type="http://schemas.openxmlformats.org/officeDocument/2006/relationships/image" Target="../media/image103.emf"/><Relationship Id="rId16" Type="http://schemas.openxmlformats.org/officeDocument/2006/relationships/image" Target="../media/image82.emf"/><Relationship Id="rId20" Type="http://schemas.openxmlformats.org/officeDocument/2006/relationships/image" Target="../media/image80.emf"/><Relationship Id="rId1" Type="http://schemas.openxmlformats.org/officeDocument/2006/relationships/slideLayout" Target="../slideLayouts/slideLayout230.xml"/><Relationship Id="rId6" Type="http://schemas.openxmlformats.org/officeDocument/2006/relationships/image" Target="../media/image78.emf"/><Relationship Id="rId11" Type="http://schemas.openxmlformats.org/officeDocument/2006/relationships/image" Target="../media/image83.emf"/><Relationship Id="rId24" Type="http://schemas.openxmlformats.org/officeDocument/2006/relationships/image" Target="../media/image89.emf"/><Relationship Id="rId5" Type="http://schemas.openxmlformats.org/officeDocument/2006/relationships/image" Target="../media/image77.emf"/><Relationship Id="rId15" Type="http://schemas.openxmlformats.org/officeDocument/2006/relationships/image" Target="../media/image87.emf"/><Relationship Id="rId23" Type="http://schemas.openxmlformats.org/officeDocument/2006/relationships/image" Target="../media/image107.emf"/><Relationship Id="rId10" Type="http://schemas.openxmlformats.org/officeDocument/2006/relationships/image" Target="../media/image88.emf"/><Relationship Id="rId19" Type="http://schemas.openxmlformats.org/officeDocument/2006/relationships/image" Target="../media/image79.emf"/><Relationship Id="rId4" Type="http://schemas.openxmlformats.org/officeDocument/2006/relationships/image" Target="../media/image75.emf"/><Relationship Id="rId9" Type="http://schemas.openxmlformats.org/officeDocument/2006/relationships/image" Target="../media/image85.emf"/><Relationship Id="rId14" Type="http://schemas.openxmlformats.org/officeDocument/2006/relationships/image" Target="../media/image86.emf"/><Relationship Id="rId22" Type="http://schemas.openxmlformats.org/officeDocument/2006/relationships/image" Target="../media/image106.emf"/></Relationships>
</file>

<file path=ppt/slides/_rels/slide1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16.xml"/></Relationships>
</file>

<file path=ppt/slides/_rels/slide18.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5.xml"/><Relationship Id="rId1" Type="http://schemas.openxmlformats.org/officeDocument/2006/relationships/slideLayout" Target="../slideLayouts/slideLayout209.xml"/></Relationships>
</file>

<file path=ppt/slides/_rels/slide19.xml.rels><?xml version="1.0" encoding="UTF-8" standalone="yes"?>
<Relationships xmlns="http://schemas.openxmlformats.org/package/2006/relationships"><Relationship Id="rId8" Type="http://schemas.openxmlformats.org/officeDocument/2006/relationships/image" Target="../media/image116.emf"/><Relationship Id="rId13" Type="http://schemas.openxmlformats.org/officeDocument/2006/relationships/image" Target="../media/image121.emf"/><Relationship Id="rId18" Type="http://schemas.openxmlformats.org/officeDocument/2006/relationships/image" Target="../media/image126.emf"/><Relationship Id="rId3" Type="http://schemas.openxmlformats.org/officeDocument/2006/relationships/image" Target="../media/image111.emf"/><Relationship Id="rId7" Type="http://schemas.openxmlformats.org/officeDocument/2006/relationships/image" Target="../media/image115.emf"/><Relationship Id="rId12" Type="http://schemas.openxmlformats.org/officeDocument/2006/relationships/image" Target="../media/image120.emf"/><Relationship Id="rId17" Type="http://schemas.openxmlformats.org/officeDocument/2006/relationships/image" Target="../media/image125.emf"/><Relationship Id="rId2" Type="http://schemas.openxmlformats.org/officeDocument/2006/relationships/notesSlide" Target="../notesSlides/notesSlide6.xml"/><Relationship Id="rId16" Type="http://schemas.openxmlformats.org/officeDocument/2006/relationships/image" Target="../media/image124.emf"/><Relationship Id="rId1" Type="http://schemas.openxmlformats.org/officeDocument/2006/relationships/slideLayout" Target="../slideLayouts/slideLayout209.xml"/><Relationship Id="rId6" Type="http://schemas.openxmlformats.org/officeDocument/2006/relationships/image" Target="../media/image114.emf"/><Relationship Id="rId11" Type="http://schemas.openxmlformats.org/officeDocument/2006/relationships/image" Target="../media/image119.emf"/><Relationship Id="rId5" Type="http://schemas.openxmlformats.org/officeDocument/2006/relationships/image" Target="../media/image113.emf"/><Relationship Id="rId15" Type="http://schemas.openxmlformats.org/officeDocument/2006/relationships/image" Target="../media/image123.emf"/><Relationship Id="rId10" Type="http://schemas.openxmlformats.org/officeDocument/2006/relationships/image" Target="../media/image118.emf"/><Relationship Id="rId4" Type="http://schemas.openxmlformats.org/officeDocument/2006/relationships/image" Target="../media/image112.emf"/><Relationship Id="rId9" Type="http://schemas.openxmlformats.org/officeDocument/2006/relationships/image" Target="../media/image117.emf"/><Relationship Id="rId14" Type="http://schemas.openxmlformats.org/officeDocument/2006/relationships/image" Target="../media/image122.emf"/></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notesSlide" Target="../notesSlides/notesSlide8.xml"/><Relationship Id="rId1" Type="http://schemas.openxmlformats.org/officeDocument/2006/relationships/slideLayout" Target="../slideLayouts/slideLayout17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8.xml"/></Relationships>
</file>

<file path=ppt/slides/_rels/slide23.xml.rels><?xml version="1.0" encoding="UTF-8" standalone="yes"?>
<Relationships xmlns="http://schemas.openxmlformats.org/package/2006/relationships"><Relationship Id="rId8" Type="http://schemas.openxmlformats.org/officeDocument/2006/relationships/image" Target="../media/image12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xml"/><Relationship Id="rId5" Type="http://schemas.openxmlformats.org/officeDocument/2006/relationships/slideLayout" Target="../slideLayouts/slideLayout149.xml"/><Relationship Id="rId4" Type="http://schemas.openxmlformats.org/officeDocument/2006/relationships/tags" Target="../tags/tag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29.tmp"/><Relationship Id="rId1" Type="http://schemas.openxmlformats.org/officeDocument/2006/relationships/slideLayout" Target="../slideLayouts/slideLayout315.xml"/></Relationships>
</file>

<file path=ppt/slides/_rels/slide2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3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5.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5.xml"/><Relationship Id="rId7" Type="http://schemas.openxmlformats.org/officeDocument/2006/relationships/slideLayout" Target="../slideLayouts/slideLayout320.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128.emf"/><Relationship Id="rId4" Type="http://schemas.openxmlformats.org/officeDocument/2006/relationships/tags" Target="../tags/tag6.xml"/><Relationship Id="rId9"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3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2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7.png"/><Relationship Id="rId3" Type="http://schemas.openxmlformats.org/officeDocument/2006/relationships/image" Target="../media/image21.png"/><Relationship Id="rId21" Type="http://schemas.openxmlformats.org/officeDocument/2006/relationships/image" Target="../media/image39.png"/><Relationship Id="rId34" Type="http://schemas.openxmlformats.org/officeDocument/2006/relationships/image" Target="../media/image52.png"/><Relationship Id="rId42" Type="http://schemas.openxmlformats.org/officeDocument/2006/relationships/image" Target="../media/image60.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1.png"/><Relationship Id="rId38" Type="http://schemas.openxmlformats.org/officeDocument/2006/relationships/image" Target="../media/image56.png"/><Relationship Id="rId46" Type="http://schemas.openxmlformats.org/officeDocument/2006/relationships/image" Target="../media/image64.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png"/><Relationship Id="rId41" Type="http://schemas.openxmlformats.org/officeDocument/2006/relationships/image" Target="../media/image59.png"/><Relationship Id="rId1" Type="http://schemas.openxmlformats.org/officeDocument/2006/relationships/slideLayout" Target="../slideLayouts/slideLayout74.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0.png"/><Relationship Id="rId37" Type="http://schemas.openxmlformats.org/officeDocument/2006/relationships/image" Target="../media/image55.png"/><Relationship Id="rId40" Type="http://schemas.openxmlformats.org/officeDocument/2006/relationships/image" Target="../media/image58.png"/><Relationship Id="rId45" Type="http://schemas.openxmlformats.org/officeDocument/2006/relationships/image" Target="../media/image63.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36" Type="http://schemas.openxmlformats.org/officeDocument/2006/relationships/image" Target="../media/image54.pn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4" Type="http://schemas.openxmlformats.org/officeDocument/2006/relationships/image" Target="../media/image62.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png"/><Relationship Id="rId43"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4.png"/><Relationship Id="rId2"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70.jpg"/><Relationship Id="rId5" Type="http://schemas.openxmlformats.org/officeDocument/2006/relationships/image" Target="../media/image69.pn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veloping custom solutions for SharePoint Online in Azure</a:t>
            </a:r>
          </a:p>
        </p:txBody>
      </p:sp>
      <p:sp>
        <p:nvSpPr>
          <p:cNvPr id="3" name="Subtitle 2"/>
          <p:cNvSpPr>
            <a:spLocks noGrp="1"/>
          </p:cNvSpPr>
          <p:nvPr>
            <p:ph type="subTitle" idx="1"/>
          </p:nvPr>
        </p:nvSpPr>
        <p:spPr/>
        <p:txBody>
          <a:bodyPr/>
          <a:lstStyle/>
          <a:p>
            <a:r>
              <a:rPr lang="en-US" dirty="0" smtClean="0"/>
              <a:t>Peter Lasne</a:t>
            </a:r>
          </a:p>
        </p:txBody>
      </p:sp>
    </p:spTree>
    <p:extLst>
      <p:ext uri="{BB962C8B-B14F-4D97-AF65-F5344CB8AC3E}">
        <p14:creationId xmlns:p14="http://schemas.microsoft.com/office/powerpoint/2010/main" val="210578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75000"/>
            <a:lumOff val="2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solidFill>
                  <a:schemeClr val="bg1"/>
                </a:solidFill>
              </a:rPr>
              <a:t>App Service Plan</a:t>
            </a:r>
            <a:endParaRPr lang="en-US" dirty="0">
              <a:solidFill>
                <a:schemeClr val="bg1"/>
              </a:solidFill>
            </a:endParaRPr>
          </a:p>
        </p:txBody>
      </p:sp>
      <p:grpSp>
        <p:nvGrpSpPr>
          <p:cNvPr id="3" name="Group 2"/>
          <p:cNvGrpSpPr/>
          <p:nvPr/>
        </p:nvGrpSpPr>
        <p:grpSpPr>
          <a:xfrm>
            <a:off x="1987386" y="1486746"/>
            <a:ext cx="8186890" cy="4780932"/>
            <a:chOff x="2150683" y="1516062"/>
            <a:chExt cx="8351054" cy="4876800"/>
          </a:xfrm>
        </p:grpSpPr>
        <p:grpSp>
          <p:nvGrpSpPr>
            <p:cNvPr id="48" name="Group 47"/>
            <p:cNvGrpSpPr/>
            <p:nvPr/>
          </p:nvGrpSpPr>
          <p:grpSpPr>
            <a:xfrm>
              <a:off x="2150683" y="2159630"/>
              <a:ext cx="2929173" cy="1352661"/>
              <a:chOff x="5648241" y="1339128"/>
              <a:chExt cx="2929173" cy="1352661"/>
            </a:xfrm>
          </p:grpSpPr>
          <p:sp>
            <p:nvSpPr>
              <p:cNvPr id="49" name="TextBox 48"/>
              <p:cNvSpPr txBox="1"/>
              <p:nvPr/>
            </p:nvSpPr>
            <p:spPr>
              <a:xfrm>
                <a:off x="5648241" y="2147024"/>
                <a:ext cx="2929173" cy="544765"/>
              </a:xfrm>
              <a:prstGeom prst="rect">
                <a:avLst/>
              </a:prstGeom>
              <a:noFill/>
            </p:spPr>
            <p:txBody>
              <a:bodyPr wrap="square" lIns="179285" tIns="143428" rIns="179285"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367"/>
                <a:r>
                  <a:rPr lang="en-US" sz="1765" dirty="0">
                    <a:gradFill>
                      <a:gsLst>
                        <a:gs pos="0">
                          <a:srgbClr val="FFFFFF"/>
                        </a:gs>
                        <a:gs pos="100000">
                          <a:srgbClr val="FFFFFF"/>
                        </a:gs>
                      </a:gsLst>
                      <a:lin ang="5400000" scaled="1"/>
                    </a:gradFill>
                  </a:rPr>
                  <a:t>Web Apps</a:t>
                </a:r>
              </a:p>
            </p:txBody>
          </p:sp>
          <p:pic>
            <p:nvPicPr>
              <p:cNvPr id="51" name="Picture 50"/>
              <p:cNvPicPr>
                <a:picLocks noChangeAspect="1"/>
              </p:cNvPicPr>
              <p:nvPr/>
            </p:nvPicPr>
            <p:blipFill>
              <a:blip r:embed="rId3"/>
              <a:stretch>
                <a:fillRect/>
              </a:stretch>
            </p:blipFill>
            <p:spPr>
              <a:xfrm>
                <a:off x="6781285" y="1339128"/>
                <a:ext cx="724282" cy="707395"/>
              </a:xfrm>
              <a:prstGeom prst="rect">
                <a:avLst/>
              </a:prstGeom>
            </p:spPr>
          </p:pic>
        </p:grpSp>
        <p:grpSp>
          <p:nvGrpSpPr>
            <p:cNvPr id="2" name="Group 1"/>
            <p:cNvGrpSpPr/>
            <p:nvPr/>
          </p:nvGrpSpPr>
          <p:grpSpPr>
            <a:xfrm>
              <a:off x="7866592" y="2111799"/>
              <a:ext cx="2635145" cy="1400492"/>
              <a:chOff x="7866592" y="1878244"/>
              <a:chExt cx="2635145" cy="1400492"/>
            </a:xfrm>
          </p:grpSpPr>
          <p:sp>
            <p:nvSpPr>
              <p:cNvPr id="53" name="TextBox 52"/>
              <p:cNvSpPr txBox="1"/>
              <p:nvPr/>
            </p:nvSpPr>
            <p:spPr>
              <a:xfrm>
                <a:off x="7866592" y="2733971"/>
                <a:ext cx="2635145" cy="544765"/>
              </a:xfrm>
              <a:prstGeom prst="rect">
                <a:avLst/>
              </a:prstGeom>
              <a:noFill/>
            </p:spPr>
            <p:txBody>
              <a:bodyPr wrap="square" lIns="179285" tIns="143428" rIns="179285"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367"/>
                <a:r>
                  <a:rPr lang="en-US" sz="1765" dirty="0">
                    <a:gradFill>
                      <a:gsLst>
                        <a:gs pos="0">
                          <a:srgbClr val="FFFFFF"/>
                        </a:gs>
                        <a:gs pos="100000">
                          <a:srgbClr val="FFFFFF"/>
                        </a:gs>
                      </a:gsLst>
                      <a:lin ang="5400000" scaled="1"/>
                    </a:gradFill>
                  </a:rPr>
                  <a:t>Mobile Apps</a:t>
                </a:r>
              </a:p>
            </p:txBody>
          </p:sp>
          <p:pic>
            <p:nvPicPr>
              <p:cNvPr id="55" name="Picture 54"/>
              <p:cNvPicPr>
                <a:picLocks noChangeAspect="1"/>
              </p:cNvPicPr>
              <p:nvPr/>
            </p:nvPicPr>
            <p:blipFill>
              <a:blip r:embed="rId4"/>
              <a:stretch>
                <a:fillRect/>
              </a:stretch>
            </p:blipFill>
            <p:spPr>
              <a:xfrm>
                <a:off x="8857941" y="1878244"/>
                <a:ext cx="556237" cy="798699"/>
              </a:xfrm>
              <a:prstGeom prst="rect">
                <a:avLst/>
              </a:prstGeom>
            </p:spPr>
          </p:pic>
        </p:grpSp>
        <p:cxnSp>
          <p:nvCxnSpPr>
            <p:cNvPr id="56" name="Straight Connector 55"/>
            <p:cNvCxnSpPr/>
            <p:nvPr/>
          </p:nvCxnSpPr>
          <p:spPr>
            <a:xfrm>
              <a:off x="7805007" y="1516062"/>
              <a:ext cx="0" cy="241222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42408" y="3928288"/>
              <a:ext cx="825932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64395" y="2161482"/>
              <a:ext cx="2635145" cy="1344962"/>
              <a:chOff x="5839825" y="1775527"/>
              <a:chExt cx="2635145" cy="1344962"/>
            </a:xfrm>
          </p:grpSpPr>
          <p:pic>
            <p:nvPicPr>
              <p:cNvPr id="63" name="Picture 62"/>
              <p:cNvPicPr>
                <a:picLocks noChangeAspect="1"/>
              </p:cNvPicPr>
              <p:nvPr/>
            </p:nvPicPr>
            <p:blipFill>
              <a:blip r:embed="rId5"/>
              <a:stretch>
                <a:fillRect/>
              </a:stretch>
            </p:blipFill>
            <p:spPr>
              <a:xfrm>
                <a:off x="6822364" y="1775527"/>
                <a:ext cx="727774" cy="726962"/>
              </a:xfrm>
              <a:prstGeom prst="rect">
                <a:avLst/>
              </a:prstGeom>
            </p:spPr>
          </p:pic>
          <p:sp>
            <p:nvSpPr>
              <p:cNvPr id="64" name="TextBox 63"/>
              <p:cNvSpPr txBox="1"/>
              <p:nvPr/>
            </p:nvSpPr>
            <p:spPr>
              <a:xfrm>
                <a:off x="5839825" y="2575724"/>
                <a:ext cx="2635145" cy="544765"/>
              </a:xfrm>
              <a:prstGeom prst="rect">
                <a:avLst/>
              </a:prstGeom>
              <a:noFill/>
            </p:spPr>
            <p:txBody>
              <a:bodyPr wrap="square" lIns="179285" tIns="143428" rIns="179285"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367"/>
                <a:r>
                  <a:rPr lang="en-US" sz="1765" dirty="0">
                    <a:gradFill>
                      <a:gsLst>
                        <a:gs pos="0">
                          <a:srgbClr val="FFFFFF"/>
                        </a:gs>
                        <a:gs pos="100000">
                          <a:srgbClr val="FFFFFF"/>
                        </a:gs>
                      </a:gsLst>
                      <a:lin ang="5400000" scaled="1"/>
                    </a:gradFill>
                  </a:rPr>
                  <a:t>LOGIC Apps</a:t>
                </a:r>
              </a:p>
            </p:txBody>
          </p:sp>
        </p:grpSp>
        <p:cxnSp>
          <p:nvCxnSpPr>
            <p:cNvPr id="66" name="Straight Connector 65"/>
            <p:cNvCxnSpPr/>
            <p:nvPr/>
          </p:nvCxnSpPr>
          <p:spPr>
            <a:xfrm>
              <a:off x="4985608" y="1516062"/>
              <a:ext cx="0" cy="241222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242408" y="1516062"/>
              <a:ext cx="0" cy="487680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5054499" y="4612401"/>
              <a:ext cx="2635145" cy="1323261"/>
              <a:chOff x="8728103" y="4231511"/>
              <a:chExt cx="2635145" cy="1323261"/>
            </a:xfrm>
          </p:grpSpPr>
          <p:pic>
            <p:nvPicPr>
              <p:cNvPr id="91" name="Picture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92" name="TextBox 91"/>
              <p:cNvSpPr txBox="1"/>
              <p:nvPr/>
            </p:nvSpPr>
            <p:spPr>
              <a:xfrm>
                <a:off x="8728103" y="5010007"/>
                <a:ext cx="2635145" cy="544765"/>
              </a:xfrm>
              <a:prstGeom prst="rect">
                <a:avLst/>
              </a:prstGeom>
              <a:noFill/>
            </p:spPr>
            <p:txBody>
              <a:bodyPr wrap="square" lIns="179285" tIns="143428" rIns="179285"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367"/>
                <a:r>
                  <a:rPr lang="en-US" sz="1765" dirty="0">
                    <a:gradFill>
                      <a:gsLst>
                        <a:gs pos="0">
                          <a:srgbClr val="FFFFFF"/>
                        </a:gs>
                        <a:gs pos="100000">
                          <a:srgbClr val="FFFFFF"/>
                        </a:gs>
                      </a:gsLst>
                      <a:lin ang="5400000" scaled="1"/>
                    </a:gradFill>
                  </a:rPr>
                  <a:t>API Apps</a:t>
                </a:r>
              </a:p>
            </p:txBody>
          </p:sp>
        </p:grpSp>
        <p:cxnSp>
          <p:nvCxnSpPr>
            <p:cNvPr id="94" name="Straight Connector 93"/>
            <p:cNvCxnSpPr/>
            <p:nvPr/>
          </p:nvCxnSpPr>
          <p:spPr>
            <a:xfrm>
              <a:off x="10501736" y="1516062"/>
              <a:ext cx="0" cy="487680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2242408" y="1516062"/>
              <a:ext cx="825932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242408" y="6392862"/>
              <a:ext cx="825932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01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2"/>
          <a:stretch>
            <a:fillRect/>
          </a:stretch>
        </p:blipFill>
        <p:spPr>
          <a:xfrm>
            <a:off x="6609431" y="487"/>
            <a:ext cx="5581706" cy="3613545"/>
          </a:xfrm>
          <a:prstGeom prst="rect">
            <a:avLst/>
          </a:prstGeom>
        </p:spPr>
      </p:pic>
      <p:pic>
        <p:nvPicPr>
          <p:cNvPr id="37" name="Picture 36"/>
          <p:cNvPicPr>
            <a:picLocks noChangeAspect="1"/>
          </p:cNvPicPr>
          <p:nvPr/>
        </p:nvPicPr>
        <p:blipFill>
          <a:blip r:embed="rId3"/>
          <a:stretch>
            <a:fillRect/>
          </a:stretch>
        </p:blipFill>
        <p:spPr>
          <a:xfrm>
            <a:off x="5276829" y="-372994"/>
            <a:ext cx="7263040" cy="4705631"/>
          </a:xfrm>
          <a:prstGeom prst="rect">
            <a:avLst/>
          </a:prstGeom>
        </p:spPr>
      </p:pic>
      <p:pic>
        <p:nvPicPr>
          <p:cNvPr id="38" name="Picture 37"/>
          <p:cNvPicPr>
            <a:picLocks noChangeAspect="1"/>
          </p:cNvPicPr>
          <p:nvPr/>
        </p:nvPicPr>
        <p:blipFill>
          <a:blip r:embed="rId4"/>
          <a:stretch>
            <a:fillRect/>
          </a:stretch>
        </p:blipFill>
        <p:spPr>
          <a:xfrm>
            <a:off x="8306481" y="298991"/>
            <a:ext cx="3327078" cy="2147676"/>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grpSp>
        <p:nvGrpSpPr>
          <p:cNvPr id="41" name="Group 40"/>
          <p:cNvGrpSpPr/>
          <p:nvPr/>
        </p:nvGrpSpPr>
        <p:grpSpPr>
          <a:xfrm>
            <a:off x="440641" y="494199"/>
            <a:ext cx="4663936" cy="2203794"/>
            <a:chOff x="439838" y="493782"/>
            <a:chExt cx="4664598" cy="2204107"/>
          </a:xfrm>
        </p:grpSpPr>
        <p:sp>
          <p:nvSpPr>
            <p:cNvPr id="10" name="TextBox 9"/>
            <p:cNvSpPr txBox="1"/>
            <p:nvPr/>
          </p:nvSpPr>
          <p:spPr>
            <a:xfrm>
              <a:off x="439838" y="1287118"/>
              <a:ext cx="3600450" cy="1410771"/>
            </a:xfrm>
            <a:prstGeom prst="rect">
              <a:avLst/>
            </a:prstGeom>
            <a:noFill/>
          </p:spPr>
          <p:txBody>
            <a:bodyPr wrap="square" rtlCol="0">
              <a:spAutoFit/>
            </a:bodyPr>
            <a:lstStyle/>
            <a:p>
              <a:pPr defTabSz="914367"/>
              <a:r>
                <a:rPr lang="en-US" sz="2800" dirty="0">
                  <a:solidFill>
                    <a:srgbClr val="FFFFFF"/>
                  </a:solidFill>
                  <a:cs typeface="Segoe UI" panose="020B0502040204020203" pitchFamily="34" charset="0"/>
                </a:rPr>
                <a:t>.NET</a:t>
              </a:r>
            </a:p>
            <a:p>
              <a:pPr defTabSz="914367"/>
              <a:r>
                <a:rPr lang="en-US" sz="2800" dirty="0">
                  <a:solidFill>
                    <a:srgbClr val="FFFFFF"/>
                  </a:solidFill>
                  <a:cs typeface="Segoe UI" panose="020B0502040204020203" pitchFamily="34" charset="0"/>
                </a:rPr>
                <a:t>Python</a:t>
              </a:r>
            </a:p>
            <a:p>
              <a:pPr defTabSz="914367"/>
              <a:endParaRPr lang="en-US" sz="2800" dirty="0">
                <a:solidFill>
                  <a:srgbClr val="FFFFFF"/>
                </a:solidFill>
                <a:cs typeface="Segoe UI" panose="020B0502040204020203" pitchFamily="34" charset="0"/>
              </a:endParaRPr>
            </a:p>
          </p:txBody>
        </p:sp>
        <p:sp>
          <p:nvSpPr>
            <p:cNvPr id="11" name="TextBox 10"/>
            <p:cNvSpPr txBox="1"/>
            <p:nvPr/>
          </p:nvSpPr>
          <p:spPr>
            <a:xfrm>
              <a:off x="439838" y="493782"/>
              <a:ext cx="4664598" cy="720197"/>
            </a:xfrm>
            <a:prstGeom prst="rect">
              <a:avLst/>
            </a:prstGeom>
            <a:noFill/>
          </p:spPr>
          <p:txBody>
            <a:bodyPr wrap="square" rtlCol="0">
              <a:spAutoFit/>
            </a:bodyPr>
            <a:lstStyle/>
            <a:p>
              <a:pPr defTabSz="914367"/>
              <a:r>
                <a:rPr lang="en-US" sz="4000" dirty="0">
                  <a:solidFill>
                    <a:srgbClr val="92D050"/>
                  </a:solidFill>
                  <a:latin typeface="Segoe UI Light" panose="020B0502040204020203" pitchFamily="34" charset="0"/>
                  <a:cs typeface="Segoe UI Light" panose="020B0502040204020203" pitchFamily="34" charset="0"/>
                </a:rPr>
                <a:t>Develop apps with…</a:t>
              </a:r>
            </a:p>
          </p:txBody>
        </p:sp>
        <p:sp>
          <p:nvSpPr>
            <p:cNvPr id="12" name="TextBox 11"/>
            <p:cNvSpPr txBox="1"/>
            <p:nvPr/>
          </p:nvSpPr>
          <p:spPr>
            <a:xfrm>
              <a:off x="1791664" y="1287118"/>
              <a:ext cx="1389756" cy="1383234"/>
            </a:xfrm>
            <a:prstGeom prst="rect">
              <a:avLst/>
            </a:prstGeom>
            <a:noFill/>
          </p:spPr>
          <p:txBody>
            <a:bodyPr wrap="square" rtlCol="0">
              <a:spAutoFit/>
            </a:bodyPr>
            <a:lstStyle/>
            <a:p>
              <a:pPr defTabSz="914367"/>
              <a:r>
                <a:rPr lang="en-US" sz="2800" dirty="0">
                  <a:solidFill>
                    <a:srgbClr val="FFFFFF"/>
                  </a:solidFill>
                  <a:cs typeface="Segoe UI" panose="020B0502040204020203" pitchFamily="34" charset="0"/>
                </a:rPr>
                <a:t>Node.js</a:t>
              </a:r>
            </a:p>
            <a:p>
              <a:pPr defTabSz="914367"/>
              <a:r>
                <a:rPr lang="en-US" sz="2800" dirty="0">
                  <a:solidFill>
                    <a:srgbClr val="FFFFFF"/>
                  </a:solidFill>
                  <a:cs typeface="Segoe UI" panose="020B0502040204020203" pitchFamily="34" charset="0"/>
                </a:rPr>
                <a:t>Java</a:t>
              </a:r>
            </a:p>
            <a:p>
              <a:pPr defTabSz="914367"/>
              <a:endParaRPr lang="en-US" sz="2800" dirty="0">
                <a:solidFill>
                  <a:srgbClr val="FFFFFF"/>
                </a:solidFill>
                <a:cs typeface="Segoe UI" panose="020B0502040204020203" pitchFamily="34" charset="0"/>
              </a:endParaRPr>
            </a:p>
          </p:txBody>
        </p:sp>
        <p:sp>
          <p:nvSpPr>
            <p:cNvPr id="13" name="TextBox 12"/>
            <p:cNvSpPr txBox="1"/>
            <p:nvPr/>
          </p:nvSpPr>
          <p:spPr>
            <a:xfrm>
              <a:off x="3502022" y="1287118"/>
              <a:ext cx="956732" cy="971292"/>
            </a:xfrm>
            <a:prstGeom prst="rect">
              <a:avLst/>
            </a:prstGeom>
            <a:noFill/>
          </p:spPr>
          <p:txBody>
            <a:bodyPr wrap="square" rtlCol="0">
              <a:spAutoFit/>
            </a:bodyPr>
            <a:lstStyle/>
            <a:p>
              <a:pPr defTabSz="914367"/>
              <a:r>
                <a:rPr lang="en-US" sz="2800" dirty="0">
                  <a:solidFill>
                    <a:srgbClr val="FFFFFF"/>
                  </a:solidFill>
                  <a:cs typeface="Segoe UI" panose="020B0502040204020203" pitchFamily="34" charset="0"/>
                </a:rPr>
                <a:t>PHP</a:t>
              </a:r>
            </a:p>
            <a:p>
              <a:pPr defTabSz="914367"/>
              <a:endParaRPr lang="en-US" sz="2800" dirty="0">
                <a:solidFill>
                  <a:srgbClr val="FFFFFF"/>
                </a:solidFill>
                <a:cs typeface="Segoe UI" panose="020B0502040204020203" pitchFamily="34" charset="0"/>
              </a:endParaRPr>
            </a:p>
          </p:txBody>
        </p:sp>
      </p:grpSp>
      <p:grpSp>
        <p:nvGrpSpPr>
          <p:cNvPr id="39" name="Group 38"/>
          <p:cNvGrpSpPr/>
          <p:nvPr/>
        </p:nvGrpSpPr>
        <p:grpSpPr>
          <a:xfrm>
            <a:off x="5208555" y="713748"/>
            <a:ext cx="2711923" cy="4039552"/>
            <a:chOff x="768089" y="-1605208"/>
            <a:chExt cx="3768750" cy="5613751"/>
          </a:xfrm>
        </p:grpSpPr>
        <p:pic>
          <p:nvPicPr>
            <p:cNvPr id="8" name="Picture 7"/>
            <p:cNvPicPr>
              <a:picLocks noChangeAspect="1"/>
            </p:cNvPicPr>
            <p:nvPr/>
          </p:nvPicPr>
          <p:blipFill>
            <a:blip r:embed="rId6"/>
            <a:stretch>
              <a:fillRect/>
            </a:stretch>
          </p:blipFill>
          <p:spPr>
            <a:xfrm>
              <a:off x="768089" y="-1605208"/>
              <a:ext cx="3768750" cy="5613751"/>
            </a:xfrm>
            <a:prstGeom prst="rect">
              <a:avLst/>
            </a:prstGeom>
          </p:spPr>
        </p:pic>
        <p:pic>
          <p:nvPicPr>
            <p:cNvPr id="14" name="Picture 13"/>
            <p:cNvPicPr>
              <a:picLocks noChangeAspect="1"/>
            </p:cNvPicPr>
            <p:nvPr/>
          </p:nvPicPr>
          <p:blipFill>
            <a:blip r:embed="rId7"/>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8"/>
          <a:stretch>
            <a:fillRect/>
          </a:stretch>
        </p:blipFill>
        <p:spPr>
          <a:xfrm>
            <a:off x="10155562" y="2524083"/>
            <a:ext cx="1468279" cy="948454"/>
          </a:xfrm>
          <a:prstGeom prst="rect">
            <a:avLst/>
          </a:prstGeom>
        </p:spPr>
      </p:pic>
      <p:pic>
        <p:nvPicPr>
          <p:cNvPr id="19" name="Picture 18"/>
          <p:cNvPicPr>
            <a:picLocks noChangeAspect="1"/>
          </p:cNvPicPr>
          <p:nvPr/>
        </p:nvPicPr>
        <p:blipFill>
          <a:blip r:embed="rId9"/>
          <a:stretch>
            <a:fillRect/>
          </a:stretch>
        </p:blipFill>
        <p:spPr>
          <a:xfrm>
            <a:off x="4607736" y="3601883"/>
            <a:ext cx="2339668" cy="147354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 name="Group 3"/>
          <p:cNvGrpSpPr/>
          <p:nvPr/>
        </p:nvGrpSpPr>
        <p:grpSpPr>
          <a:xfrm>
            <a:off x="866" y="3302235"/>
            <a:ext cx="4821685" cy="3564948"/>
            <a:chOff x="1" y="3302216"/>
            <a:chExt cx="4822369" cy="3565454"/>
          </a:xfrm>
        </p:grpSpPr>
        <p:pic>
          <p:nvPicPr>
            <p:cNvPr id="21" name="Picture 20"/>
            <p:cNvPicPr>
              <a:picLocks noChangeAspect="1"/>
            </p:cNvPicPr>
            <p:nvPr/>
          </p:nvPicPr>
          <p:blipFill>
            <a:blip r:embed="rId12"/>
            <a:stretch>
              <a:fillRect/>
            </a:stretch>
          </p:blipFill>
          <p:spPr>
            <a:xfrm>
              <a:off x="1" y="3743009"/>
              <a:ext cx="4822369" cy="3124661"/>
            </a:xfrm>
            <a:prstGeom prst="rect">
              <a:avLst/>
            </a:prstGeom>
          </p:spPr>
        </p:pic>
        <p:pic>
          <p:nvPicPr>
            <p:cNvPr id="23" name="Picture 22"/>
            <p:cNvPicPr>
              <a:picLocks noChangeAspect="1"/>
            </p:cNvPicPr>
            <p:nvPr/>
          </p:nvPicPr>
          <p:blipFill>
            <a:blip r:embed="rId13"/>
            <a:stretch>
              <a:fillRect/>
            </a:stretch>
          </p:blipFill>
          <p:spPr>
            <a:xfrm>
              <a:off x="215340" y="3302216"/>
              <a:ext cx="2092500" cy="2340000"/>
            </a:xfrm>
            <a:prstGeom prst="rect">
              <a:avLst/>
            </a:prstGeom>
          </p:spPr>
        </p:pic>
        <p:pic>
          <p:nvPicPr>
            <p:cNvPr id="24" name="Picture 23"/>
            <p:cNvPicPr>
              <a:picLocks noChangeAspect="1"/>
            </p:cNvPicPr>
            <p:nvPr/>
          </p:nvPicPr>
          <p:blipFill>
            <a:blip r:embed="rId10"/>
            <a:stretch>
              <a:fillRect/>
            </a:stretch>
          </p:blipFill>
          <p:spPr>
            <a:xfrm>
              <a:off x="1447611" y="5043761"/>
              <a:ext cx="1237500" cy="1462500"/>
            </a:xfrm>
            <a:prstGeom prst="rect">
              <a:avLst/>
            </a:prstGeom>
          </p:spPr>
        </p:pic>
        <p:pic>
          <p:nvPicPr>
            <p:cNvPr id="25" name="Picture 24"/>
            <p:cNvPicPr>
              <a:picLocks noChangeAspect="1"/>
            </p:cNvPicPr>
            <p:nvPr/>
          </p:nvPicPr>
          <p:blipFill>
            <a:blip r:embed="rId14"/>
            <a:stretch>
              <a:fillRect/>
            </a:stretch>
          </p:blipFill>
          <p:spPr>
            <a:xfrm>
              <a:off x="2788810" y="4960912"/>
              <a:ext cx="447874" cy="1224190"/>
            </a:xfrm>
            <a:prstGeom prst="rect">
              <a:avLst/>
            </a:prstGeom>
          </p:spPr>
        </p:pic>
        <p:pic>
          <p:nvPicPr>
            <p:cNvPr id="40" name="Picture 39"/>
            <p:cNvPicPr>
              <a:picLocks noChangeAspect="1"/>
            </p:cNvPicPr>
            <p:nvPr/>
          </p:nvPicPr>
          <p:blipFill>
            <a:blip r:embed="rId15"/>
            <a:stretch>
              <a:fillRect/>
            </a:stretch>
          </p:blipFill>
          <p:spPr>
            <a:xfrm>
              <a:off x="257977" y="5707769"/>
              <a:ext cx="1481228" cy="956627"/>
            </a:xfrm>
            <a:prstGeom prst="rect">
              <a:avLst/>
            </a:prstGeom>
          </p:spPr>
        </p:pic>
      </p:grpSp>
      <p:grpSp>
        <p:nvGrpSpPr>
          <p:cNvPr id="2" name="Group 1"/>
          <p:cNvGrpSpPr/>
          <p:nvPr/>
        </p:nvGrpSpPr>
        <p:grpSpPr>
          <a:xfrm>
            <a:off x="1764755" y="1287422"/>
            <a:ext cx="1686671" cy="966006"/>
            <a:chOff x="1447611" y="1287118"/>
            <a:chExt cx="1686910" cy="966143"/>
          </a:xfrm>
        </p:grpSpPr>
        <p:cxnSp>
          <p:nvCxnSpPr>
            <p:cNvPr id="6" name="Straight Connector 5"/>
            <p:cNvCxnSpPr/>
            <p:nvPr/>
          </p:nvCxnSpPr>
          <p:spPr>
            <a:xfrm>
              <a:off x="144761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13452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9787045" y="-79296"/>
            <a:ext cx="934656" cy="1104595"/>
            <a:chOff x="9787568" y="-79793"/>
            <a:chExt cx="934789" cy="1104751"/>
          </a:xfrm>
        </p:grpSpPr>
        <p:pic>
          <p:nvPicPr>
            <p:cNvPr id="45" name="Picture 44"/>
            <p:cNvPicPr>
              <a:picLocks noChangeAspect="1"/>
            </p:cNvPicPr>
            <p:nvPr/>
          </p:nvPicPr>
          <p:blipFill>
            <a:blip r:embed="rId10"/>
            <a:stretch>
              <a:fillRect/>
            </a:stretch>
          </p:blipFill>
          <p:spPr>
            <a:xfrm>
              <a:off x="9787568" y="-79793"/>
              <a:ext cx="934789" cy="1104751"/>
            </a:xfrm>
            <a:prstGeom prst="rect">
              <a:avLst/>
            </a:prstGeom>
          </p:spPr>
        </p:pic>
        <p:pic>
          <p:nvPicPr>
            <p:cNvPr id="34" name="Picture 33"/>
            <p:cNvPicPr>
              <a:picLocks noChangeAspect="1"/>
            </p:cNvPicPr>
            <p:nvPr/>
          </p:nvPicPr>
          <p:blipFill>
            <a:blip r:embed="rId16"/>
            <a:stretch>
              <a:fillRect/>
            </a:stretch>
          </p:blipFill>
          <p:spPr>
            <a:xfrm>
              <a:off x="10328954" y="214760"/>
              <a:ext cx="147937" cy="295874"/>
            </a:xfrm>
            <a:prstGeom prst="rect">
              <a:avLst/>
            </a:prstGeom>
          </p:spPr>
        </p:pic>
      </p:grpSp>
    </p:spTree>
    <p:extLst>
      <p:ext uri="{BB962C8B-B14F-4D97-AF65-F5344CB8AC3E}">
        <p14:creationId xmlns:p14="http://schemas.microsoft.com/office/powerpoint/2010/main" val="413859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grpSp>
        <p:nvGrpSpPr>
          <p:cNvPr id="6" name="Group 5"/>
          <p:cNvGrpSpPr/>
          <p:nvPr/>
        </p:nvGrpSpPr>
        <p:grpSpPr>
          <a:xfrm>
            <a:off x="3215767" y="1238562"/>
            <a:ext cx="8759686" cy="4883480"/>
            <a:chOff x="395371" y="1139688"/>
            <a:chExt cx="8399866" cy="4651514"/>
          </a:xfrm>
          <a:solidFill>
            <a:srgbClr val="00B0F0"/>
          </a:solidFill>
        </p:grpSpPr>
        <p:sp>
          <p:nvSpPr>
            <p:cNvPr id="7"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3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4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5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6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7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8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9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0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1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2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3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4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5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6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7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8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29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0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1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2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3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4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270">
                <a:defRPr/>
              </a:pPr>
              <a:endParaRPr lang="en-US" sz="2399" kern="0" dirty="0">
                <a:solidFill>
                  <a:srgbClr val="292929"/>
                </a:solidFill>
              </a:endParaRPr>
            </a:p>
          </p:txBody>
        </p:sp>
        <p:sp>
          <p:nvSpPr>
            <p:cNvPr id="35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5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36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6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7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8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39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270">
                <a:defRPr/>
              </a:pPr>
              <a:endParaRPr lang="en-US" sz="2399" kern="0" dirty="0">
                <a:solidFill>
                  <a:srgbClr val="292929"/>
                </a:solidFill>
              </a:endParaRPr>
            </a:p>
          </p:txBody>
        </p:sp>
        <p:sp>
          <p:nvSpPr>
            <p:cNvPr id="40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0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1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2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3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4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5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6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7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8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49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50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0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1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2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3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4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55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5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6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7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8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59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60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0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1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2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62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3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4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5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6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7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8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69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0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1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72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2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3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74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4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5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6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7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8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79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0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1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2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3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4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5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6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7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8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89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0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1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2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93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3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4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5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6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7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8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99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0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01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1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2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3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4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5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6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07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7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8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09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0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1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2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3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4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5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6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7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270">
                <a:defRPr/>
              </a:pPr>
              <a:endParaRPr lang="en-US" sz="2399" kern="0">
                <a:solidFill>
                  <a:srgbClr val="292929"/>
                </a:solidFill>
              </a:endParaRPr>
            </a:p>
          </p:txBody>
        </p:sp>
        <p:sp>
          <p:nvSpPr>
            <p:cNvPr id="117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8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19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0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1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sp>
          <p:nvSpPr>
            <p:cNvPr id="122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270">
                <a:defRPr/>
              </a:pPr>
              <a:endParaRPr lang="en-US" sz="2399" kern="0">
                <a:solidFill>
                  <a:srgbClr val="292929"/>
                </a:solidFill>
              </a:endParaRPr>
            </a:p>
          </p:txBody>
        </p:sp>
      </p:grpSp>
      <p:sp>
        <p:nvSpPr>
          <p:cNvPr id="1227" name="Title 1226"/>
          <p:cNvSpPr>
            <a:spLocks noGrp="1"/>
          </p:cNvSpPr>
          <p:nvPr>
            <p:ph type="title"/>
          </p:nvPr>
        </p:nvSpPr>
        <p:spPr>
          <a:xfrm>
            <a:off x="480571" y="497359"/>
            <a:ext cx="5387827" cy="1238314"/>
          </a:xfrm>
        </p:spPr>
        <p:txBody>
          <a:bodyPr anchor="t">
            <a:normAutofit/>
          </a:bodyPr>
          <a:lstStyle/>
          <a:p>
            <a:r>
              <a:rPr lang="en-US" sz="3200" dirty="0">
                <a:solidFill>
                  <a:schemeClr val="bg1"/>
                </a:solidFill>
              </a:rPr>
              <a:t>Intelligent customer routing with Traffic Manager</a:t>
            </a:r>
          </a:p>
        </p:txBody>
      </p:sp>
      <p:sp>
        <p:nvSpPr>
          <p:cNvPr id="1228" name="Title 4"/>
          <p:cNvSpPr txBox="1">
            <a:spLocks/>
          </p:cNvSpPr>
          <p:nvPr/>
        </p:nvSpPr>
        <p:spPr>
          <a:xfrm>
            <a:off x="445854" y="4779139"/>
            <a:ext cx="3721307" cy="524168"/>
          </a:xfrm>
          <a:prstGeom prst="rect">
            <a:avLst/>
          </a:prstGeom>
          <a:solidFill>
            <a:srgbClr val="92D050"/>
          </a:solidFill>
        </p:spPr>
        <p:txBody>
          <a:bodyPr vert="horz" lIns="91427" tIns="45713" rIns="91427" bIns="45713"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2800" dirty="0">
                <a:solidFill>
                  <a:srgbClr val="FFFFFF"/>
                </a:solidFill>
                <a:latin typeface="Segoe UI"/>
              </a:rPr>
              <a:t>www.yourapp.com</a:t>
            </a:r>
          </a:p>
        </p:txBody>
      </p:sp>
      <p:pic>
        <p:nvPicPr>
          <p:cNvPr id="1246" name="Picture 1245"/>
          <p:cNvPicPr>
            <a:picLocks noChangeAspect="1"/>
          </p:cNvPicPr>
          <p:nvPr/>
        </p:nvPicPr>
        <p:blipFill>
          <a:blip r:embed="rId2"/>
          <a:stretch>
            <a:fillRect/>
          </a:stretch>
        </p:blipFill>
        <p:spPr>
          <a:xfrm>
            <a:off x="4334738" y="1520927"/>
            <a:ext cx="1533660" cy="1419113"/>
          </a:xfrm>
          <a:prstGeom prst="rect">
            <a:avLst/>
          </a:prstGeom>
        </p:spPr>
      </p:pic>
      <p:pic>
        <p:nvPicPr>
          <p:cNvPr id="1247" name="Picture 1246"/>
          <p:cNvPicPr>
            <a:picLocks noChangeAspect="1"/>
          </p:cNvPicPr>
          <p:nvPr/>
        </p:nvPicPr>
        <p:blipFill>
          <a:blip r:embed="rId2"/>
          <a:stretch>
            <a:fillRect/>
          </a:stretch>
        </p:blipFill>
        <p:spPr>
          <a:xfrm>
            <a:off x="7436313" y="1208454"/>
            <a:ext cx="1533660" cy="1419113"/>
          </a:xfrm>
          <a:prstGeom prst="rect">
            <a:avLst/>
          </a:prstGeom>
        </p:spPr>
      </p:pic>
      <p:pic>
        <p:nvPicPr>
          <p:cNvPr id="1248" name="Picture 1247"/>
          <p:cNvPicPr>
            <a:picLocks noChangeAspect="1"/>
          </p:cNvPicPr>
          <p:nvPr/>
        </p:nvPicPr>
        <p:blipFill>
          <a:blip r:embed="rId2"/>
          <a:stretch>
            <a:fillRect/>
          </a:stretch>
        </p:blipFill>
        <p:spPr>
          <a:xfrm>
            <a:off x="9970810" y="2030139"/>
            <a:ext cx="1533660" cy="1419113"/>
          </a:xfrm>
          <a:prstGeom prst="rect">
            <a:avLst/>
          </a:prstGeom>
        </p:spPr>
      </p:pic>
      <p:cxnSp>
        <p:nvCxnSpPr>
          <p:cNvPr id="1250" name="Elbow Connector 1249"/>
          <p:cNvCxnSpPr>
            <a:stCxn id="1228" idx="0"/>
            <a:endCxn id="671" idx="5"/>
          </p:cNvCxnSpPr>
          <p:nvPr/>
        </p:nvCxnSpPr>
        <p:spPr>
          <a:xfrm rot="5400000" flipH="1" flipV="1">
            <a:off x="2582921" y="2782020"/>
            <a:ext cx="1720704" cy="2273532"/>
          </a:xfrm>
          <a:prstGeom prst="bentConnector3">
            <a:avLst>
              <a:gd name="adj1" fmla="val 78248"/>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4" name="Elbow Connector 1253"/>
          <p:cNvCxnSpPr>
            <a:stCxn id="1228" idx="0"/>
            <a:endCxn id="844" idx="4"/>
          </p:cNvCxnSpPr>
          <p:nvPr/>
        </p:nvCxnSpPr>
        <p:spPr>
          <a:xfrm rot="5400000" flipH="1" flipV="1">
            <a:off x="5604324" y="210734"/>
            <a:ext cx="1270589" cy="7866220"/>
          </a:xfrm>
          <a:prstGeom prst="bentConnector3">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p:cNvCxnSpPr>
            <a:stCxn id="1228" idx="0"/>
            <a:endCxn id="552" idx="4"/>
          </p:cNvCxnSpPr>
          <p:nvPr/>
        </p:nvCxnSpPr>
        <p:spPr>
          <a:xfrm rot="5400000" flipH="1" flipV="1">
            <a:off x="3934266" y="1117795"/>
            <a:ext cx="2033583" cy="5289101"/>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1261" name="Rectangle 1260"/>
          <p:cNvSpPr/>
          <p:nvPr/>
        </p:nvSpPr>
        <p:spPr>
          <a:xfrm>
            <a:off x="4334738" y="2623116"/>
            <a:ext cx="330063" cy="316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endParaRPr>
          </a:p>
        </p:txBody>
      </p:sp>
    </p:spTree>
    <p:extLst>
      <p:ext uri="{BB962C8B-B14F-4D97-AF65-F5344CB8AC3E}">
        <p14:creationId xmlns:p14="http://schemas.microsoft.com/office/powerpoint/2010/main" val="2626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37" name="Picture 36"/>
          <p:cNvPicPr>
            <a:picLocks noChangeAspect="1"/>
          </p:cNvPicPr>
          <p:nvPr/>
        </p:nvPicPr>
        <p:blipFill>
          <a:blip r:embed="rId2"/>
          <a:stretch>
            <a:fillRect/>
          </a:stretch>
        </p:blipFill>
        <p:spPr>
          <a:xfrm>
            <a:off x="5276829" y="-372994"/>
            <a:ext cx="7263040" cy="4705631"/>
          </a:xfrm>
          <a:prstGeom prst="rect">
            <a:avLst/>
          </a:prstGeom>
        </p:spPr>
      </p:pic>
      <p:pic>
        <p:nvPicPr>
          <p:cNvPr id="30" name="Picture 29"/>
          <p:cNvPicPr>
            <a:picLocks noChangeAspect="1"/>
          </p:cNvPicPr>
          <p:nvPr/>
        </p:nvPicPr>
        <p:blipFill>
          <a:blip r:embed="rId3">
            <a:lum bright="-40000" contrast="-40000"/>
          </a:blip>
          <a:stretch>
            <a:fillRect/>
          </a:stretch>
        </p:blipFill>
        <p:spPr>
          <a:xfrm>
            <a:off x="6609431" y="487"/>
            <a:ext cx="5581706" cy="3613545"/>
          </a:xfrm>
          <a:prstGeom prst="rect">
            <a:avLst/>
          </a:prstGeom>
        </p:spPr>
      </p:pic>
      <p:pic>
        <p:nvPicPr>
          <p:cNvPr id="2" name="Picture 1"/>
          <p:cNvPicPr>
            <a:picLocks noChangeAspect="1"/>
          </p:cNvPicPr>
          <p:nvPr/>
        </p:nvPicPr>
        <p:blipFill>
          <a:blip r:embed="rId4"/>
          <a:stretch>
            <a:fillRect/>
          </a:stretch>
        </p:blipFill>
        <p:spPr>
          <a:xfrm>
            <a:off x="2010390" y="672463"/>
            <a:ext cx="9418854" cy="6089435"/>
          </a:xfrm>
          <a:prstGeom prst="rect">
            <a:avLst/>
          </a:prstGeom>
        </p:spPr>
      </p:pic>
      <p:pic>
        <p:nvPicPr>
          <p:cNvPr id="3" name="Picture 2"/>
          <p:cNvPicPr>
            <a:picLocks noChangeAspect="1"/>
          </p:cNvPicPr>
          <p:nvPr/>
        </p:nvPicPr>
        <p:blipFill>
          <a:blip r:embed="rId5"/>
          <a:stretch>
            <a:fillRect/>
          </a:stretch>
        </p:blipFill>
        <p:spPr>
          <a:xfrm>
            <a:off x="8087206" y="1636456"/>
            <a:ext cx="1506294" cy="978611"/>
          </a:xfrm>
          <a:prstGeom prst="rect">
            <a:avLst/>
          </a:prstGeom>
        </p:spPr>
      </p:pic>
      <p:grpSp>
        <p:nvGrpSpPr>
          <p:cNvPr id="51" name="Group 50"/>
          <p:cNvGrpSpPr/>
          <p:nvPr/>
        </p:nvGrpSpPr>
        <p:grpSpPr>
          <a:xfrm>
            <a:off x="6607004" y="1610572"/>
            <a:ext cx="2770894" cy="4119120"/>
            <a:chOff x="6722970" y="1674257"/>
            <a:chExt cx="2780259" cy="4133042"/>
          </a:xfrm>
        </p:grpSpPr>
        <p:pic>
          <p:nvPicPr>
            <p:cNvPr id="52" name="Picture 51"/>
            <p:cNvPicPr>
              <a:picLocks noChangeAspect="1"/>
            </p:cNvPicPr>
            <p:nvPr/>
          </p:nvPicPr>
          <p:blipFill>
            <a:blip r:embed="rId6"/>
            <a:stretch>
              <a:fillRect/>
            </a:stretch>
          </p:blipFill>
          <p:spPr>
            <a:xfrm>
              <a:off x="6722970" y="1674257"/>
              <a:ext cx="2780259" cy="4133042"/>
            </a:xfrm>
            <a:prstGeom prst="rect">
              <a:avLst/>
            </a:prstGeom>
          </p:spPr>
        </p:pic>
        <p:pic>
          <p:nvPicPr>
            <p:cNvPr id="53" name="Picture 52"/>
            <p:cNvPicPr>
              <a:picLocks noChangeAspect="1"/>
            </p:cNvPicPr>
            <p:nvPr/>
          </p:nvPicPr>
          <p:blipFill>
            <a:blip r:embed="rId7"/>
            <a:stretch>
              <a:fillRect/>
            </a:stretch>
          </p:blipFill>
          <p:spPr>
            <a:xfrm>
              <a:off x="7470523" y="3260826"/>
              <a:ext cx="979669" cy="1295431"/>
            </a:xfrm>
            <a:prstGeom prst="rect">
              <a:avLst/>
            </a:prstGeom>
          </p:spPr>
        </p:pic>
      </p:grpSp>
      <p:grpSp>
        <p:nvGrpSpPr>
          <p:cNvPr id="55" name="Group 54"/>
          <p:cNvGrpSpPr/>
          <p:nvPr/>
        </p:nvGrpSpPr>
        <p:grpSpPr>
          <a:xfrm>
            <a:off x="3716781" y="-337643"/>
            <a:ext cx="2775445" cy="4134168"/>
            <a:chOff x="3719625" y="-351356"/>
            <a:chExt cx="2775838" cy="4134755"/>
          </a:xfrm>
        </p:grpSpPr>
        <p:pic>
          <p:nvPicPr>
            <p:cNvPr id="56" name="Picture 55"/>
            <p:cNvPicPr>
              <a:picLocks noChangeAspect="1"/>
            </p:cNvPicPr>
            <p:nvPr/>
          </p:nvPicPr>
          <p:blipFill>
            <a:blip r:embed="rId8"/>
            <a:stretch>
              <a:fillRect/>
            </a:stretch>
          </p:blipFill>
          <p:spPr>
            <a:xfrm>
              <a:off x="3719625" y="-351356"/>
              <a:ext cx="2775838" cy="4134755"/>
            </a:xfrm>
            <a:prstGeom prst="rect">
              <a:avLst/>
            </a:prstGeom>
          </p:spPr>
        </p:pic>
        <p:pic>
          <p:nvPicPr>
            <p:cNvPr id="57" name="Picture 56"/>
            <p:cNvPicPr>
              <a:picLocks noChangeAspect="1"/>
            </p:cNvPicPr>
            <p:nvPr/>
          </p:nvPicPr>
          <p:blipFill>
            <a:blip r:embed="rId7"/>
            <a:stretch>
              <a:fillRect/>
            </a:stretch>
          </p:blipFill>
          <p:spPr>
            <a:xfrm>
              <a:off x="4484016" y="1290841"/>
              <a:ext cx="979669" cy="1295431"/>
            </a:xfrm>
            <a:prstGeom prst="rect">
              <a:avLst/>
            </a:prstGeom>
          </p:spPr>
        </p:pic>
      </p:grpSp>
      <p:pic>
        <p:nvPicPr>
          <p:cNvPr id="26" name="Picture 25"/>
          <p:cNvPicPr>
            <a:picLocks noChangeAspect="1"/>
          </p:cNvPicPr>
          <p:nvPr/>
        </p:nvPicPr>
        <p:blipFill>
          <a:blip r:embed="rId9"/>
          <a:stretch>
            <a:fillRect/>
          </a:stretch>
        </p:blipFill>
        <p:spPr>
          <a:xfrm>
            <a:off x="2845824" y="4756694"/>
            <a:ext cx="2172488" cy="1399878"/>
          </a:xfrm>
          <a:prstGeom prst="rect">
            <a:avLst/>
          </a:prstGeom>
        </p:spPr>
      </p:pic>
      <p:pic>
        <p:nvPicPr>
          <p:cNvPr id="16" name="Picture 15"/>
          <p:cNvPicPr>
            <a:picLocks noChangeAspect="1"/>
          </p:cNvPicPr>
          <p:nvPr/>
        </p:nvPicPr>
        <p:blipFill>
          <a:blip r:embed="rId10"/>
          <a:stretch>
            <a:fillRect/>
          </a:stretch>
        </p:blipFill>
        <p:spPr>
          <a:xfrm>
            <a:off x="10155562" y="2524083"/>
            <a:ext cx="1468279" cy="948454"/>
          </a:xfrm>
          <a:prstGeom prst="rect">
            <a:avLst/>
          </a:prstGeom>
        </p:spPr>
      </p:pic>
      <p:pic>
        <p:nvPicPr>
          <p:cNvPr id="21" name="Picture 20"/>
          <p:cNvPicPr>
            <a:picLocks noChangeAspect="1"/>
          </p:cNvPicPr>
          <p:nvPr/>
        </p:nvPicPr>
        <p:blipFill>
          <a:blip r:embed="rId11">
            <a:lum bright="-40000" contrast="-40000"/>
          </a:blip>
          <a:stretch>
            <a:fillRect/>
          </a:stretch>
        </p:blipFill>
        <p:spPr>
          <a:xfrm>
            <a:off x="866" y="3742966"/>
            <a:ext cx="4821685" cy="3124218"/>
          </a:xfrm>
          <a:prstGeom prst="rect">
            <a:avLst/>
          </a:prstGeom>
        </p:spPr>
      </p:pic>
      <p:pic>
        <p:nvPicPr>
          <p:cNvPr id="22" name="Picture 21"/>
          <p:cNvPicPr>
            <a:picLocks noChangeAspect="1"/>
          </p:cNvPicPr>
          <p:nvPr/>
        </p:nvPicPr>
        <p:blipFill>
          <a:blip r:embed="rId12"/>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3"/>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807" y="457622"/>
            <a:ext cx="3599940" cy="720095"/>
          </a:xfrm>
          <a:prstGeom prst="rect">
            <a:avLst/>
          </a:prstGeom>
          <a:noFill/>
        </p:spPr>
        <p:txBody>
          <a:bodyPr wrap="square" rtlCol="0">
            <a:spAutoFit/>
          </a:bodyPr>
          <a:lstStyle/>
          <a:p>
            <a:pPr defTabSz="914367"/>
            <a:r>
              <a:rPr lang="en-US" sz="4000" dirty="0">
                <a:solidFill>
                  <a:srgbClr val="FFFFFF"/>
                </a:solidFill>
                <a:latin typeface="Segoe UI Light" panose="020B0502040204020203" pitchFamily="34" charset="0"/>
                <a:cs typeface="Segoe UI Light" panose="020B0502040204020203" pitchFamily="34" charset="0"/>
              </a:rPr>
              <a:t>Staging</a:t>
            </a:r>
          </a:p>
        </p:txBody>
      </p:sp>
      <p:pic>
        <p:nvPicPr>
          <p:cNvPr id="27" name="Picture 26"/>
          <p:cNvPicPr>
            <a:picLocks noChangeAspect="1"/>
          </p:cNvPicPr>
          <p:nvPr/>
        </p:nvPicPr>
        <p:blipFill>
          <a:blip r:embed="rId15"/>
          <a:stretch>
            <a:fillRect/>
          </a:stretch>
        </p:blipFill>
        <p:spPr>
          <a:xfrm>
            <a:off x="216174" y="3302234"/>
            <a:ext cx="2092203" cy="2339668"/>
          </a:xfrm>
          <a:prstGeom prst="rect">
            <a:avLst/>
          </a:prstGeom>
        </p:spPr>
      </p:pic>
      <p:pic>
        <p:nvPicPr>
          <p:cNvPr id="28" name="Picture 27"/>
          <p:cNvPicPr>
            <a:picLocks noChangeAspect="1"/>
          </p:cNvPicPr>
          <p:nvPr/>
        </p:nvPicPr>
        <p:blipFill>
          <a:blip r:embed="rId13"/>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6"/>
          <a:stretch>
            <a:fillRect/>
          </a:stretch>
        </p:blipFill>
        <p:spPr>
          <a:xfrm>
            <a:off x="2789279" y="4960695"/>
            <a:ext cx="447810" cy="1224016"/>
          </a:xfrm>
          <a:prstGeom prst="rect">
            <a:avLst/>
          </a:prstGeom>
        </p:spPr>
      </p:pic>
      <p:pic>
        <p:nvPicPr>
          <p:cNvPr id="49" name="Picture 48"/>
          <p:cNvPicPr>
            <a:picLocks noChangeAspect="1"/>
          </p:cNvPicPr>
          <p:nvPr/>
        </p:nvPicPr>
        <p:blipFill>
          <a:blip r:embed="rId17"/>
          <a:stretch>
            <a:fillRect/>
          </a:stretch>
        </p:blipFill>
        <p:spPr>
          <a:xfrm>
            <a:off x="8313574" y="267195"/>
            <a:ext cx="3327504" cy="2147950"/>
          </a:xfrm>
          <a:prstGeom prst="rect">
            <a:avLst/>
          </a:prstGeom>
        </p:spPr>
      </p:pic>
      <p:pic>
        <p:nvPicPr>
          <p:cNvPr id="45" name="Picture 44"/>
          <p:cNvPicPr>
            <a:picLocks noChangeAspect="1"/>
          </p:cNvPicPr>
          <p:nvPr/>
        </p:nvPicPr>
        <p:blipFill>
          <a:blip r:embed="rId18"/>
          <a:stretch>
            <a:fillRect/>
          </a:stretch>
        </p:blipFill>
        <p:spPr>
          <a:xfrm>
            <a:off x="3958857" y="483765"/>
            <a:ext cx="899884" cy="707052"/>
          </a:xfrm>
          <a:prstGeom prst="rect">
            <a:avLst/>
          </a:prstGeom>
        </p:spPr>
      </p:pic>
      <p:pic>
        <p:nvPicPr>
          <p:cNvPr id="46" name="Picture 45"/>
          <p:cNvPicPr>
            <a:picLocks noChangeAspect="1"/>
          </p:cNvPicPr>
          <p:nvPr/>
        </p:nvPicPr>
        <p:blipFill>
          <a:blip r:embed="rId19"/>
          <a:stretch>
            <a:fillRect/>
          </a:stretch>
        </p:blipFill>
        <p:spPr>
          <a:xfrm>
            <a:off x="6815033" y="2378863"/>
            <a:ext cx="587679" cy="477489"/>
          </a:xfrm>
          <a:prstGeom prst="rect">
            <a:avLst/>
          </a:prstGeom>
        </p:spPr>
      </p:pic>
      <p:pic>
        <p:nvPicPr>
          <p:cNvPr id="58" name="Picture 57"/>
          <p:cNvPicPr>
            <a:picLocks noChangeAspect="1"/>
          </p:cNvPicPr>
          <p:nvPr/>
        </p:nvPicPr>
        <p:blipFill>
          <a:blip r:embed="rId20"/>
          <a:stretch>
            <a:fillRect/>
          </a:stretch>
        </p:blipFill>
        <p:spPr>
          <a:xfrm>
            <a:off x="4607736" y="3601883"/>
            <a:ext cx="2339668" cy="1473541"/>
          </a:xfrm>
          <a:prstGeom prst="rect">
            <a:avLst/>
          </a:prstGeom>
        </p:spPr>
      </p:pic>
      <p:grpSp>
        <p:nvGrpSpPr>
          <p:cNvPr id="38" name="Group 37"/>
          <p:cNvGrpSpPr/>
          <p:nvPr/>
        </p:nvGrpSpPr>
        <p:grpSpPr>
          <a:xfrm>
            <a:off x="9787045" y="-79296"/>
            <a:ext cx="934656" cy="1104595"/>
            <a:chOff x="9827324" y="-40038"/>
            <a:chExt cx="934789" cy="1104751"/>
          </a:xfrm>
        </p:grpSpPr>
        <p:pic>
          <p:nvPicPr>
            <p:cNvPr id="39" name="Picture 38"/>
            <p:cNvPicPr>
              <a:picLocks noChangeAspect="1"/>
            </p:cNvPicPr>
            <p:nvPr/>
          </p:nvPicPr>
          <p:blipFill>
            <a:blip r:embed="rId13"/>
            <a:stretch>
              <a:fillRect/>
            </a:stretch>
          </p:blipFill>
          <p:spPr>
            <a:xfrm>
              <a:off x="9827324" y="-40038"/>
              <a:ext cx="934789" cy="1104751"/>
            </a:xfrm>
            <a:prstGeom prst="rect">
              <a:avLst/>
            </a:prstGeom>
          </p:spPr>
        </p:pic>
        <p:pic>
          <p:nvPicPr>
            <p:cNvPr id="40" name="Picture 39"/>
            <p:cNvPicPr>
              <a:picLocks noChangeAspect="1"/>
            </p:cNvPicPr>
            <p:nvPr/>
          </p:nvPicPr>
          <p:blipFill>
            <a:blip r:embed="rId21"/>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184584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54" name="Picture 53"/>
          <p:cNvPicPr>
            <a:picLocks noChangeAspect="1"/>
          </p:cNvPicPr>
          <p:nvPr/>
        </p:nvPicPr>
        <p:blipFill>
          <a:blip r:embed="rId3"/>
          <a:stretch>
            <a:fillRect/>
          </a:stretch>
        </p:blipFill>
        <p:spPr>
          <a:xfrm>
            <a:off x="4607736" y="3601883"/>
            <a:ext cx="2339668" cy="1473541"/>
          </a:xfrm>
          <a:prstGeom prst="rect">
            <a:avLst/>
          </a:prstGeom>
        </p:spPr>
      </p:pic>
      <p:pic>
        <p:nvPicPr>
          <p:cNvPr id="2" name="Picture 1"/>
          <p:cNvPicPr>
            <a:picLocks noChangeAspect="1"/>
          </p:cNvPicPr>
          <p:nvPr/>
        </p:nvPicPr>
        <p:blipFill>
          <a:blip r:embed="rId4"/>
          <a:stretch>
            <a:fillRect/>
          </a:stretch>
        </p:blipFill>
        <p:spPr>
          <a:xfrm>
            <a:off x="2010390" y="672463"/>
            <a:ext cx="9418854" cy="6089435"/>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pic>
        <p:nvPicPr>
          <p:cNvPr id="37" name="Picture 36"/>
          <p:cNvPicPr>
            <a:picLocks noChangeAspect="1"/>
          </p:cNvPicPr>
          <p:nvPr/>
        </p:nvPicPr>
        <p:blipFill>
          <a:blip r:embed="rId6"/>
          <a:stretch>
            <a:fillRect/>
          </a:stretch>
        </p:blipFill>
        <p:spPr>
          <a:xfrm>
            <a:off x="5276829" y="-372994"/>
            <a:ext cx="7263040" cy="4705631"/>
          </a:xfrm>
          <a:prstGeom prst="rect">
            <a:avLst/>
          </a:prstGeom>
        </p:spPr>
      </p:pic>
      <p:grpSp>
        <p:nvGrpSpPr>
          <p:cNvPr id="48" name="Group 47"/>
          <p:cNvGrpSpPr/>
          <p:nvPr/>
        </p:nvGrpSpPr>
        <p:grpSpPr>
          <a:xfrm>
            <a:off x="5093388" y="606817"/>
            <a:ext cx="2775445" cy="4134168"/>
            <a:chOff x="3719625" y="-351356"/>
            <a:chExt cx="2775838" cy="4134755"/>
          </a:xfrm>
        </p:grpSpPr>
        <p:pic>
          <p:nvPicPr>
            <p:cNvPr id="49" name="Picture 48"/>
            <p:cNvPicPr>
              <a:picLocks noChangeAspect="1"/>
            </p:cNvPicPr>
            <p:nvPr/>
          </p:nvPicPr>
          <p:blipFill>
            <a:blip r:embed="rId7"/>
            <a:stretch>
              <a:fillRect/>
            </a:stretch>
          </p:blipFill>
          <p:spPr>
            <a:xfrm>
              <a:off x="3719625" y="-351356"/>
              <a:ext cx="2775838" cy="4134755"/>
            </a:xfrm>
            <a:prstGeom prst="rect">
              <a:avLst/>
            </a:prstGeom>
          </p:spPr>
        </p:pic>
        <p:pic>
          <p:nvPicPr>
            <p:cNvPr id="50" name="Picture 49"/>
            <p:cNvPicPr>
              <a:picLocks noChangeAspect="1"/>
            </p:cNvPicPr>
            <p:nvPr/>
          </p:nvPicPr>
          <p:blipFill>
            <a:blip r:embed="rId8"/>
            <a:stretch>
              <a:fillRect/>
            </a:stretch>
          </p:blipFill>
          <p:spPr>
            <a:xfrm>
              <a:off x="4484016" y="1290841"/>
              <a:ext cx="979669" cy="1295431"/>
            </a:xfrm>
            <a:prstGeom prst="rect">
              <a:avLst/>
            </a:prstGeom>
          </p:spPr>
        </p:pic>
      </p:grpSp>
      <p:pic>
        <p:nvPicPr>
          <p:cNvPr id="26" name="Picture 25"/>
          <p:cNvPicPr>
            <a:picLocks noChangeAspect="1"/>
          </p:cNvPicPr>
          <p:nvPr/>
        </p:nvPicPr>
        <p:blipFill>
          <a:blip r:embed="rId9"/>
          <a:stretch>
            <a:fillRect/>
          </a:stretch>
        </p:blipFill>
        <p:spPr>
          <a:xfrm>
            <a:off x="2587445" y="4253135"/>
            <a:ext cx="2830589" cy="1823935"/>
          </a:xfrm>
          <a:prstGeom prst="rect">
            <a:avLst/>
          </a:prstGeom>
        </p:spPr>
      </p:pic>
      <p:pic>
        <p:nvPicPr>
          <p:cNvPr id="30" name="Picture 29"/>
          <p:cNvPicPr>
            <a:picLocks noChangeAspect="1"/>
          </p:cNvPicPr>
          <p:nvPr/>
        </p:nvPicPr>
        <p:blipFill>
          <a:blip r:embed="rId10">
            <a:lum bright="-40000" contrast="-40000"/>
          </a:blip>
          <a:stretch>
            <a:fillRect/>
          </a:stretch>
        </p:blipFill>
        <p:spPr>
          <a:xfrm>
            <a:off x="6609431" y="487"/>
            <a:ext cx="5581706" cy="3613545"/>
          </a:xfrm>
          <a:prstGeom prst="rect">
            <a:avLst/>
          </a:prstGeom>
        </p:spPr>
      </p:pic>
      <p:pic>
        <p:nvPicPr>
          <p:cNvPr id="38" name="Picture 37"/>
          <p:cNvPicPr>
            <a:picLocks noChangeAspect="1"/>
          </p:cNvPicPr>
          <p:nvPr/>
        </p:nvPicPr>
        <p:blipFill>
          <a:blip r:embed="rId11"/>
          <a:stretch>
            <a:fillRect/>
          </a:stretch>
        </p:blipFill>
        <p:spPr>
          <a:xfrm>
            <a:off x="8314000" y="268006"/>
            <a:ext cx="3327078" cy="2147676"/>
          </a:xfrm>
          <a:prstGeom prst="rect">
            <a:avLst/>
          </a:prstGeom>
        </p:spPr>
      </p:pic>
      <p:pic>
        <p:nvPicPr>
          <p:cNvPr id="16" name="Picture 15"/>
          <p:cNvPicPr>
            <a:picLocks noChangeAspect="1"/>
          </p:cNvPicPr>
          <p:nvPr/>
        </p:nvPicPr>
        <p:blipFill>
          <a:blip r:embed="rId12"/>
          <a:stretch>
            <a:fillRect/>
          </a:stretch>
        </p:blipFill>
        <p:spPr>
          <a:xfrm>
            <a:off x="10155562" y="2524083"/>
            <a:ext cx="1468279" cy="948454"/>
          </a:xfrm>
          <a:prstGeom prst="rect">
            <a:avLst/>
          </a:prstGeom>
        </p:spPr>
      </p:pic>
      <p:pic>
        <p:nvPicPr>
          <p:cNvPr id="21" name="Picture 20"/>
          <p:cNvPicPr>
            <a:picLocks noChangeAspect="1"/>
          </p:cNvPicPr>
          <p:nvPr/>
        </p:nvPicPr>
        <p:blipFill>
          <a:blip r:embed="rId13">
            <a:lum bright="-40000" contrast="-40000"/>
          </a:blip>
          <a:stretch>
            <a:fillRect/>
          </a:stretch>
        </p:blipFill>
        <p:spPr>
          <a:xfrm>
            <a:off x="866" y="3742966"/>
            <a:ext cx="4821685" cy="3124218"/>
          </a:xfrm>
          <a:prstGeom prst="rect">
            <a:avLst/>
          </a:prstGeom>
        </p:spPr>
      </p:pic>
      <p:pic>
        <p:nvPicPr>
          <p:cNvPr id="22" name="Picture 21"/>
          <p:cNvPicPr>
            <a:picLocks noChangeAspect="1"/>
          </p:cNvPicPr>
          <p:nvPr/>
        </p:nvPicPr>
        <p:blipFill>
          <a:blip r:embed="rId14"/>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5"/>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807" y="457622"/>
            <a:ext cx="3599940" cy="720095"/>
          </a:xfrm>
          <a:prstGeom prst="rect">
            <a:avLst/>
          </a:prstGeom>
          <a:noFill/>
        </p:spPr>
        <p:txBody>
          <a:bodyPr wrap="square" rtlCol="0">
            <a:spAutoFit/>
          </a:bodyPr>
          <a:lstStyle/>
          <a:p>
            <a:pPr defTabSz="914367"/>
            <a:r>
              <a:rPr lang="en-US" sz="4000" dirty="0">
                <a:solidFill>
                  <a:srgbClr val="FFFFFF"/>
                </a:solidFill>
                <a:latin typeface="Segoe UI Light" panose="020B0502040204020203" pitchFamily="34" charset="0"/>
                <a:cs typeface="Segoe UI Light" panose="020B0502040204020203" pitchFamily="34" charset="0"/>
              </a:rPr>
              <a:t>Testing in Prod.</a:t>
            </a:r>
          </a:p>
        </p:txBody>
      </p:sp>
      <p:pic>
        <p:nvPicPr>
          <p:cNvPr id="40" name="Picture 39"/>
          <p:cNvPicPr>
            <a:picLocks noChangeAspect="1"/>
          </p:cNvPicPr>
          <p:nvPr/>
        </p:nvPicPr>
        <p:blipFill>
          <a:blip r:embed="rId17"/>
          <a:stretch>
            <a:fillRect/>
          </a:stretch>
        </p:blipFill>
        <p:spPr>
          <a:xfrm>
            <a:off x="8086936" y="1636456"/>
            <a:ext cx="1507286" cy="978611"/>
          </a:xfrm>
          <a:prstGeom prst="rect">
            <a:avLst/>
          </a:prstGeom>
        </p:spPr>
      </p:pic>
      <p:pic>
        <p:nvPicPr>
          <p:cNvPr id="27" name="Picture 26"/>
          <p:cNvPicPr>
            <a:picLocks noChangeAspect="1"/>
          </p:cNvPicPr>
          <p:nvPr/>
        </p:nvPicPr>
        <p:blipFill>
          <a:blip r:embed="rId18"/>
          <a:stretch>
            <a:fillRect/>
          </a:stretch>
        </p:blipFill>
        <p:spPr>
          <a:xfrm>
            <a:off x="216174" y="3302234"/>
            <a:ext cx="2092203" cy="2339668"/>
          </a:xfrm>
          <a:prstGeom prst="rect">
            <a:avLst/>
          </a:prstGeom>
        </p:spPr>
      </p:pic>
      <p:pic>
        <p:nvPicPr>
          <p:cNvPr id="28" name="Picture 27"/>
          <p:cNvPicPr>
            <a:picLocks noChangeAspect="1"/>
          </p:cNvPicPr>
          <p:nvPr/>
        </p:nvPicPr>
        <p:blipFill>
          <a:blip r:embed="rId15"/>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9"/>
          <a:stretch>
            <a:fillRect/>
          </a:stretch>
        </p:blipFill>
        <p:spPr>
          <a:xfrm>
            <a:off x="2789279" y="4960695"/>
            <a:ext cx="447810" cy="1224016"/>
          </a:xfrm>
          <a:prstGeom prst="rect">
            <a:avLst/>
          </a:prstGeom>
        </p:spPr>
      </p:pic>
      <p:grpSp>
        <p:nvGrpSpPr>
          <p:cNvPr id="39" name="Group 38"/>
          <p:cNvGrpSpPr/>
          <p:nvPr/>
        </p:nvGrpSpPr>
        <p:grpSpPr>
          <a:xfrm>
            <a:off x="9787045" y="-79296"/>
            <a:ext cx="934656" cy="1104595"/>
            <a:chOff x="9827324" y="-40038"/>
            <a:chExt cx="934789" cy="1104751"/>
          </a:xfrm>
        </p:grpSpPr>
        <p:pic>
          <p:nvPicPr>
            <p:cNvPr id="41" name="Picture 40"/>
            <p:cNvPicPr>
              <a:picLocks noChangeAspect="1"/>
            </p:cNvPicPr>
            <p:nvPr/>
          </p:nvPicPr>
          <p:blipFill>
            <a:blip r:embed="rId15"/>
            <a:stretch>
              <a:fillRect/>
            </a:stretch>
          </p:blipFill>
          <p:spPr>
            <a:xfrm>
              <a:off x="9827324" y="-40038"/>
              <a:ext cx="934789" cy="1104751"/>
            </a:xfrm>
            <a:prstGeom prst="rect">
              <a:avLst/>
            </a:prstGeom>
          </p:spPr>
        </p:pic>
        <p:pic>
          <p:nvPicPr>
            <p:cNvPr id="42" name="Picture 41"/>
            <p:cNvPicPr>
              <a:picLocks noChangeAspect="1"/>
            </p:cNvPicPr>
            <p:nvPr/>
          </p:nvPicPr>
          <p:blipFill>
            <a:blip r:embed="rId20"/>
            <a:stretch>
              <a:fillRect/>
            </a:stretch>
          </p:blipFill>
          <p:spPr>
            <a:xfrm>
              <a:off x="10368710" y="254515"/>
              <a:ext cx="147937" cy="295874"/>
            </a:xfrm>
            <a:prstGeom prst="rect">
              <a:avLst/>
            </a:prstGeom>
          </p:spPr>
        </p:pic>
      </p:grpSp>
      <p:grpSp>
        <p:nvGrpSpPr>
          <p:cNvPr id="63" name="Group 62"/>
          <p:cNvGrpSpPr/>
          <p:nvPr/>
        </p:nvGrpSpPr>
        <p:grpSpPr>
          <a:xfrm>
            <a:off x="7072389" y="3811804"/>
            <a:ext cx="2301528" cy="1802033"/>
            <a:chOff x="9141706" y="4661661"/>
            <a:chExt cx="2301854" cy="1802289"/>
          </a:xfrm>
        </p:grpSpPr>
        <p:pic>
          <p:nvPicPr>
            <p:cNvPr id="64" name="Picture 63"/>
            <p:cNvPicPr>
              <a:picLocks noChangeAspect="1"/>
            </p:cNvPicPr>
            <p:nvPr/>
          </p:nvPicPr>
          <p:blipFill>
            <a:blip r:embed="rId21"/>
            <a:stretch>
              <a:fillRect/>
            </a:stretch>
          </p:blipFill>
          <p:spPr>
            <a:xfrm>
              <a:off x="9657578" y="5810087"/>
              <a:ext cx="416883" cy="275784"/>
            </a:xfrm>
            <a:prstGeom prst="rect">
              <a:avLst/>
            </a:prstGeom>
          </p:spPr>
        </p:pic>
        <p:grpSp>
          <p:nvGrpSpPr>
            <p:cNvPr id="65" name="Group 64"/>
            <p:cNvGrpSpPr/>
            <p:nvPr/>
          </p:nvGrpSpPr>
          <p:grpSpPr>
            <a:xfrm>
              <a:off x="9141706" y="4661661"/>
              <a:ext cx="2301854" cy="1802289"/>
              <a:chOff x="9141706" y="4661661"/>
              <a:chExt cx="2301854" cy="1802289"/>
            </a:xfrm>
          </p:grpSpPr>
          <p:pic>
            <p:nvPicPr>
              <p:cNvPr id="66" name="Picture 65"/>
              <p:cNvPicPr>
                <a:picLocks noChangeAspect="1"/>
              </p:cNvPicPr>
              <p:nvPr/>
            </p:nvPicPr>
            <p:blipFill>
              <a:blip r:embed="rId22"/>
              <a:stretch>
                <a:fillRect/>
              </a:stretch>
            </p:blipFill>
            <p:spPr>
              <a:xfrm>
                <a:off x="9141706" y="4968434"/>
                <a:ext cx="2301854" cy="1495516"/>
              </a:xfrm>
              <a:prstGeom prst="rect">
                <a:avLst/>
              </a:prstGeom>
            </p:spPr>
          </p:pic>
          <p:grpSp>
            <p:nvGrpSpPr>
              <p:cNvPr id="67" name="Group 66"/>
              <p:cNvGrpSpPr/>
              <p:nvPr/>
            </p:nvGrpSpPr>
            <p:grpSpPr>
              <a:xfrm>
                <a:off x="9828594" y="4661661"/>
                <a:ext cx="893763" cy="1333500"/>
                <a:chOff x="8418162" y="3532279"/>
                <a:chExt cx="893763" cy="1333500"/>
              </a:xfrm>
            </p:grpSpPr>
            <p:grpSp>
              <p:nvGrpSpPr>
                <p:cNvPr id="68" name="Group 4"/>
                <p:cNvGrpSpPr>
                  <a:grpSpLocks noChangeAspect="1"/>
                </p:cNvGrpSpPr>
                <p:nvPr/>
              </p:nvGrpSpPr>
              <p:grpSpPr bwMode="auto">
                <a:xfrm>
                  <a:off x="8418162" y="3532279"/>
                  <a:ext cx="893763" cy="1333500"/>
                  <a:chOff x="4846" y="2474"/>
                  <a:chExt cx="563" cy="840"/>
                </a:xfrm>
              </p:grpSpPr>
              <p:sp>
                <p:nvSpPr>
                  <p:cNvPr id="70" name="AutoShape 3"/>
                  <p:cNvSpPr>
                    <a:spLocks noChangeAspect="1" noChangeArrowheads="1" noTextEdit="1"/>
                  </p:cNvSpPr>
                  <p:nvPr/>
                </p:nvSpPr>
                <p:spPr bwMode="auto">
                  <a:xfrm>
                    <a:off x="4846" y="2474"/>
                    <a:ext cx="563" cy="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1" name="Freeform 5"/>
                  <p:cNvSpPr>
                    <a:spLocks/>
                  </p:cNvSpPr>
                  <p:nvPr/>
                </p:nvSpPr>
                <p:spPr bwMode="auto">
                  <a:xfrm>
                    <a:off x="4847" y="2473"/>
                    <a:ext cx="562" cy="842"/>
                  </a:xfrm>
                  <a:custGeom>
                    <a:avLst/>
                    <a:gdLst>
                      <a:gd name="T0" fmla="*/ 1001 w 1001"/>
                      <a:gd name="T1" fmla="*/ 1417 h 1497"/>
                      <a:gd name="T2" fmla="*/ 1001 w 1001"/>
                      <a:gd name="T3" fmla="*/ 627 h 1497"/>
                      <a:gd name="T4" fmla="*/ 966 w 1001"/>
                      <a:gd name="T5" fmla="*/ 569 h 1497"/>
                      <a:gd name="T6" fmla="*/ 119 w 1001"/>
                      <a:gd name="T7" fmla="*/ 29 h 1497"/>
                      <a:gd name="T8" fmla="*/ 73 w 1001"/>
                      <a:gd name="T9" fmla="*/ 3 h 1497"/>
                      <a:gd name="T10" fmla="*/ 73 w 1001"/>
                      <a:gd name="T11" fmla="*/ 3 h 1497"/>
                      <a:gd name="T12" fmla="*/ 73 w 1001"/>
                      <a:gd name="T13" fmla="*/ 3 h 1497"/>
                      <a:gd name="T14" fmla="*/ 72 w 1001"/>
                      <a:gd name="T15" fmla="*/ 4 h 1497"/>
                      <a:gd name="T16" fmla="*/ 6 w 1001"/>
                      <a:gd name="T17" fmla="*/ 43 h 1497"/>
                      <a:gd name="T18" fmla="*/ 6 w 1001"/>
                      <a:gd name="T19" fmla="*/ 43 h 1497"/>
                      <a:gd name="T20" fmla="*/ 0 w 1001"/>
                      <a:gd name="T21" fmla="*/ 67 h 1497"/>
                      <a:gd name="T22" fmla="*/ 1 w 1001"/>
                      <a:gd name="T23" fmla="*/ 858 h 1497"/>
                      <a:gd name="T24" fmla="*/ 36 w 1001"/>
                      <a:gd name="T25" fmla="*/ 915 h 1497"/>
                      <a:gd name="T26" fmla="*/ 882 w 1001"/>
                      <a:gd name="T27" fmla="*/ 1482 h 1497"/>
                      <a:gd name="T28" fmla="*/ 911 w 1001"/>
                      <a:gd name="T29" fmla="*/ 1494 h 1497"/>
                      <a:gd name="T30" fmla="*/ 911 w 1001"/>
                      <a:gd name="T31" fmla="*/ 1494 h 1497"/>
                      <a:gd name="T32" fmla="*/ 996 w 1001"/>
                      <a:gd name="T33" fmla="*/ 1445 h 1497"/>
                      <a:gd name="T34" fmla="*/ 996 w 1001"/>
                      <a:gd name="T35" fmla="*/ 1445 h 1497"/>
                      <a:gd name="T36" fmla="*/ 996 w 1001"/>
                      <a:gd name="T37" fmla="*/ 1445 h 1497"/>
                      <a:gd name="T38" fmla="*/ 996 w 1001"/>
                      <a:gd name="T39" fmla="*/ 1445 h 1497"/>
                      <a:gd name="T40" fmla="*/ 1001 w 1001"/>
                      <a:gd name="T41" fmla="*/ 1417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497">
                        <a:moveTo>
                          <a:pt x="1001" y="1417"/>
                        </a:moveTo>
                        <a:cubicBezTo>
                          <a:pt x="1001" y="627"/>
                          <a:pt x="1001" y="627"/>
                          <a:pt x="1001" y="627"/>
                        </a:cubicBezTo>
                        <a:cubicBezTo>
                          <a:pt x="1001" y="598"/>
                          <a:pt x="995" y="588"/>
                          <a:pt x="966" y="569"/>
                        </a:cubicBezTo>
                        <a:cubicBezTo>
                          <a:pt x="119" y="29"/>
                          <a:pt x="119" y="29"/>
                          <a:pt x="119" y="29"/>
                        </a:cubicBezTo>
                        <a:cubicBezTo>
                          <a:pt x="95" y="13"/>
                          <a:pt x="81" y="0"/>
                          <a:pt x="73" y="3"/>
                        </a:cubicBezTo>
                        <a:cubicBezTo>
                          <a:pt x="73" y="3"/>
                          <a:pt x="73" y="3"/>
                          <a:pt x="73" y="3"/>
                        </a:cubicBezTo>
                        <a:cubicBezTo>
                          <a:pt x="73" y="3"/>
                          <a:pt x="73" y="3"/>
                          <a:pt x="73" y="3"/>
                        </a:cubicBezTo>
                        <a:cubicBezTo>
                          <a:pt x="73" y="3"/>
                          <a:pt x="72" y="3"/>
                          <a:pt x="72" y="4"/>
                        </a:cubicBezTo>
                        <a:cubicBezTo>
                          <a:pt x="6" y="43"/>
                          <a:pt x="6" y="43"/>
                          <a:pt x="6" y="43"/>
                        </a:cubicBezTo>
                        <a:cubicBezTo>
                          <a:pt x="6" y="43"/>
                          <a:pt x="6" y="43"/>
                          <a:pt x="6" y="43"/>
                        </a:cubicBezTo>
                        <a:cubicBezTo>
                          <a:pt x="2" y="46"/>
                          <a:pt x="0" y="53"/>
                          <a:pt x="0" y="67"/>
                        </a:cubicBezTo>
                        <a:cubicBezTo>
                          <a:pt x="1" y="858"/>
                          <a:pt x="1" y="858"/>
                          <a:pt x="1" y="858"/>
                        </a:cubicBezTo>
                        <a:cubicBezTo>
                          <a:pt x="1" y="886"/>
                          <a:pt x="7" y="896"/>
                          <a:pt x="36" y="915"/>
                        </a:cubicBezTo>
                        <a:cubicBezTo>
                          <a:pt x="882" y="1482"/>
                          <a:pt x="882" y="1482"/>
                          <a:pt x="882" y="1482"/>
                        </a:cubicBezTo>
                        <a:cubicBezTo>
                          <a:pt x="897" y="1492"/>
                          <a:pt x="906" y="1497"/>
                          <a:pt x="911" y="1494"/>
                        </a:cubicBezTo>
                        <a:cubicBezTo>
                          <a:pt x="911" y="1494"/>
                          <a:pt x="911" y="1494"/>
                          <a:pt x="911" y="1494"/>
                        </a:cubicBezTo>
                        <a:cubicBezTo>
                          <a:pt x="996" y="1445"/>
                          <a:pt x="996" y="1445"/>
                          <a:pt x="996" y="1445"/>
                        </a:cubicBezTo>
                        <a:cubicBezTo>
                          <a:pt x="996" y="1445"/>
                          <a:pt x="996" y="1445"/>
                          <a:pt x="996" y="1445"/>
                        </a:cubicBezTo>
                        <a:cubicBezTo>
                          <a:pt x="996" y="1445"/>
                          <a:pt x="996" y="1445"/>
                          <a:pt x="996" y="1445"/>
                        </a:cubicBezTo>
                        <a:cubicBezTo>
                          <a:pt x="996" y="1445"/>
                          <a:pt x="996" y="1445"/>
                          <a:pt x="996" y="1445"/>
                        </a:cubicBezTo>
                        <a:cubicBezTo>
                          <a:pt x="1000" y="1443"/>
                          <a:pt x="1001" y="1435"/>
                          <a:pt x="1001" y="1417"/>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2" name="Freeform 6"/>
                  <p:cNvSpPr>
                    <a:spLocks/>
                  </p:cNvSpPr>
                  <p:nvPr/>
                </p:nvSpPr>
                <p:spPr bwMode="auto">
                  <a:xfrm>
                    <a:off x="5358" y="3240"/>
                    <a:ext cx="48" cy="73"/>
                  </a:xfrm>
                  <a:custGeom>
                    <a:avLst/>
                    <a:gdLst>
                      <a:gd name="T0" fmla="*/ 48 w 48"/>
                      <a:gd name="T1" fmla="*/ 45 h 73"/>
                      <a:gd name="T2" fmla="*/ 0 w 48"/>
                      <a:gd name="T3" fmla="*/ 73 h 73"/>
                      <a:gd name="T4" fmla="*/ 0 w 48"/>
                      <a:gd name="T5" fmla="*/ 8 h 73"/>
                      <a:gd name="T6" fmla="*/ 47 w 48"/>
                      <a:gd name="T7" fmla="*/ 0 h 73"/>
                      <a:gd name="T8" fmla="*/ 48 w 48"/>
                      <a:gd name="T9" fmla="*/ 45 h 73"/>
                    </a:gdLst>
                    <a:ahLst/>
                    <a:cxnLst>
                      <a:cxn ang="0">
                        <a:pos x="T0" y="T1"/>
                      </a:cxn>
                      <a:cxn ang="0">
                        <a:pos x="T2" y="T3"/>
                      </a:cxn>
                      <a:cxn ang="0">
                        <a:pos x="T4" y="T5"/>
                      </a:cxn>
                      <a:cxn ang="0">
                        <a:pos x="T6" y="T7"/>
                      </a:cxn>
                      <a:cxn ang="0">
                        <a:pos x="T8" y="T9"/>
                      </a:cxn>
                    </a:cxnLst>
                    <a:rect l="0" t="0" r="r" b="b"/>
                    <a:pathLst>
                      <a:path w="48" h="73">
                        <a:moveTo>
                          <a:pt x="48" y="45"/>
                        </a:moveTo>
                        <a:lnTo>
                          <a:pt x="0" y="73"/>
                        </a:lnTo>
                        <a:lnTo>
                          <a:pt x="0" y="8"/>
                        </a:lnTo>
                        <a:lnTo>
                          <a:pt x="47" y="0"/>
                        </a:lnTo>
                        <a:lnTo>
                          <a:pt x="48" y="45"/>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3" name="Freeform 7"/>
                  <p:cNvSpPr>
                    <a:spLocks/>
                  </p:cNvSpPr>
                  <p:nvPr/>
                </p:nvSpPr>
                <p:spPr bwMode="auto">
                  <a:xfrm>
                    <a:off x="4850" y="2475"/>
                    <a:ext cx="76" cy="62"/>
                  </a:xfrm>
                  <a:custGeom>
                    <a:avLst/>
                    <a:gdLst>
                      <a:gd name="T0" fmla="*/ 0 w 76"/>
                      <a:gd name="T1" fmla="*/ 22 h 62"/>
                      <a:gd name="T2" fmla="*/ 38 w 76"/>
                      <a:gd name="T3" fmla="*/ 0 h 62"/>
                      <a:gd name="T4" fmla="*/ 76 w 76"/>
                      <a:gd name="T5" fmla="*/ 37 h 62"/>
                      <a:gd name="T6" fmla="*/ 47 w 76"/>
                      <a:gd name="T7" fmla="*/ 62 h 62"/>
                      <a:gd name="T8" fmla="*/ 0 w 76"/>
                      <a:gd name="T9" fmla="*/ 22 h 62"/>
                    </a:gdLst>
                    <a:ahLst/>
                    <a:cxnLst>
                      <a:cxn ang="0">
                        <a:pos x="T0" y="T1"/>
                      </a:cxn>
                      <a:cxn ang="0">
                        <a:pos x="T2" y="T3"/>
                      </a:cxn>
                      <a:cxn ang="0">
                        <a:pos x="T4" y="T5"/>
                      </a:cxn>
                      <a:cxn ang="0">
                        <a:pos x="T6" y="T7"/>
                      </a:cxn>
                      <a:cxn ang="0">
                        <a:pos x="T8" y="T9"/>
                      </a:cxn>
                    </a:cxnLst>
                    <a:rect l="0" t="0" r="r" b="b"/>
                    <a:pathLst>
                      <a:path w="76" h="62">
                        <a:moveTo>
                          <a:pt x="0" y="22"/>
                        </a:moveTo>
                        <a:lnTo>
                          <a:pt x="38" y="0"/>
                        </a:lnTo>
                        <a:lnTo>
                          <a:pt x="76" y="37"/>
                        </a:lnTo>
                        <a:lnTo>
                          <a:pt x="47" y="62"/>
                        </a:lnTo>
                        <a:lnTo>
                          <a:pt x="0" y="22"/>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4" name="Freeform 8"/>
                  <p:cNvSpPr>
                    <a:spLocks/>
                  </p:cNvSpPr>
                  <p:nvPr/>
                </p:nvSpPr>
                <p:spPr bwMode="auto">
                  <a:xfrm>
                    <a:off x="4884" y="2465"/>
                    <a:ext cx="525" cy="828"/>
                  </a:xfrm>
                  <a:custGeom>
                    <a:avLst/>
                    <a:gdLst>
                      <a:gd name="T0" fmla="*/ 899 w 934"/>
                      <a:gd name="T1" fmla="*/ 583 h 1472"/>
                      <a:gd name="T2" fmla="*/ 52 w 934"/>
                      <a:gd name="T3" fmla="*/ 43 h 1472"/>
                      <a:gd name="T4" fmla="*/ 0 w 934"/>
                      <a:gd name="T5" fmla="*/ 39 h 1472"/>
                      <a:gd name="T6" fmla="*/ 18 w 934"/>
                      <a:gd name="T7" fmla="*/ 845 h 1472"/>
                      <a:gd name="T8" fmla="*/ 53 w 934"/>
                      <a:gd name="T9" fmla="*/ 903 h 1472"/>
                      <a:gd name="T10" fmla="*/ 899 w 934"/>
                      <a:gd name="T11" fmla="*/ 1443 h 1472"/>
                      <a:gd name="T12" fmla="*/ 934 w 934"/>
                      <a:gd name="T13" fmla="*/ 1431 h 1472"/>
                      <a:gd name="T14" fmla="*/ 934 w 934"/>
                      <a:gd name="T15" fmla="*/ 641 h 1472"/>
                      <a:gd name="T16" fmla="*/ 899 w 934"/>
                      <a:gd name="T17" fmla="*/ 583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4" h="1472">
                        <a:moveTo>
                          <a:pt x="899" y="583"/>
                        </a:moveTo>
                        <a:cubicBezTo>
                          <a:pt x="52" y="43"/>
                          <a:pt x="52" y="43"/>
                          <a:pt x="52" y="43"/>
                        </a:cubicBezTo>
                        <a:cubicBezTo>
                          <a:pt x="15" y="18"/>
                          <a:pt x="0" y="0"/>
                          <a:pt x="0" y="39"/>
                        </a:cubicBezTo>
                        <a:cubicBezTo>
                          <a:pt x="18" y="845"/>
                          <a:pt x="18" y="845"/>
                          <a:pt x="18" y="845"/>
                        </a:cubicBezTo>
                        <a:cubicBezTo>
                          <a:pt x="18" y="874"/>
                          <a:pt x="24" y="884"/>
                          <a:pt x="53" y="903"/>
                        </a:cubicBezTo>
                        <a:cubicBezTo>
                          <a:pt x="899" y="1443"/>
                          <a:pt x="899" y="1443"/>
                          <a:pt x="899" y="1443"/>
                        </a:cubicBezTo>
                        <a:cubicBezTo>
                          <a:pt x="928" y="1462"/>
                          <a:pt x="934" y="1472"/>
                          <a:pt x="934" y="1431"/>
                        </a:cubicBezTo>
                        <a:cubicBezTo>
                          <a:pt x="934" y="641"/>
                          <a:pt x="934" y="641"/>
                          <a:pt x="934" y="641"/>
                        </a:cubicBezTo>
                        <a:cubicBezTo>
                          <a:pt x="934" y="612"/>
                          <a:pt x="928" y="602"/>
                          <a:pt x="899" y="583"/>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5" name="Freeform 9"/>
                  <p:cNvSpPr>
                    <a:spLocks/>
                  </p:cNvSpPr>
                  <p:nvPr/>
                </p:nvSpPr>
                <p:spPr bwMode="auto">
                  <a:xfrm>
                    <a:off x="4847" y="2493"/>
                    <a:ext cx="515" cy="824"/>
                  </a:xfrm>
                  <a:custGeom>
                    <a:avLst/>
                    <a:gdLst>
                      <a:gd name="T0" fmla="*/ 882 w 917"/>
                      <a:gd name="T1" fmla="*/ 586 h 1466"/>
                      <a:gd name="T2" fmla="*/ 35 w 917"/>
                      <a:gd name="T3" fmla="*/ 19 h 1466"/>
                      <a:gd name="T4" fmla="*/ 0 w 917"/>
                      <a:gd name="T5" fmla="*/ 31 h 1466"/>
                      <a:gd name="T6" fmla="*/ 1 w 917"/>
                      <a:gd name="T7" fmla="*/ 822 h 1466"/>
                      <a:gd name="T8" fmla="*/ 36 w 917"/>
                      <a:gd name="T9" fmla="*/ 879 h 1466"/>
                      <a:gd name="T10" fmla="*/ 882 w 917"/>
                      <a:gd name="T11" fmla="*/ 1446 h 1466"/>
                      <a:gd name="T12" fmla="*/ 917 w 917"/>
                      <a:gd name="T13" fmla="*/ 1435 h 1466"/>
                      <a:gd name="T14" fmla="*/ 916 w 917"/>
                      <a:gd name="T15" fmla="*/ 644 h 1466"/>
                      <a:gd name="T16" fmla="*/ 882 w 917"/>
                      <a:gd name="T17" fmla="*/ 58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7" h="1466">
                        <a:moveTo>
                          <a:pt x="882" y="586"/>
                        </a:moveTo>
                        <a:cubicBezTo>
                          <a:pt x="35" y="19"/>
                          <a:pt x="35" y="19"/>
                          <a:pt x="35" y="19"/>
                        </a:cubicBezTo>
                        <a:cubicBezTo>
                          <a:pt x="6" y="0"/>
                          <a:pt x="0" y="2"/>
                          <a:pt x="0" y="31"/>
                        </a:cubicBezTo>
                        <a:cubicBezTo>
                          <a:pt x="1" y="822"/>
                          <a:pt x="1" y="822"/>
                          <a:pt x="1" y="822"/>
                        </a:cubicBezTo>
                        <a:cubicBezTo>
                          <a:pt x="1" y="850"/>
                          <a:pt x="7" y="860"/>
                          <a:pt x="36" y="879"/>
                        </a:cubicBezTo>
                        <a:cubicBezTo>
                          <a:pt x="882" y="1446"/>
                          <a:pt x="882" y="1446"/>
                          <a:pt x="882" y="1446"/>
                        </a:cubicBezTo>
                        <a:cubicBezTo>
                          <a:pt x="911" y="1466"/>
                          <a:pt x="917" y="1464"/>
                          <a:pt x="917" y="1435"/>
                        </a:cubicBezTo>
                        <a:cubicBezTo>
                          <a:pt x="916" y="644"/>
                          <a:pt x="916" y="644"/>
                          <a:pt x="916" y="644"/>
                        </a:cubicBezTo>
                        <a:cubicBezTo>
                          <a:pt x="916" y="615"/>
                          <a:pt x="911" y="606"/>
                          <a:pt x="882" y="5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6" name="Freeform 10"/>
                  <p:cNvSpPr>
                    <a:spLocks/>
                  </p:cNvSpPr>
                  <p:nvPr/>
                </p:nvSpPr>
                <p:spPr bwMode="auto">
                  <a:xfrm>
                    <a:off x="4861" y="2518"/>
                    <a:ext cx="51" cy="70"/>
                  </a:xfrm>
                  <a:custGeom>
                    <a:avLst/>
                    <a:gdLst>
                      <a:gd name="T0" fmla="*/ 92 w 92"/>
                      <a:gd name="T1" fmla="*/ 93 h 125"/>
                      <a:gd name="T2" fmla="*/ 46 w 92"/>
                      <a:gd name="T3" fmla="*/ 108 h 125"/>
                      <a:gd name="T4" fmla="*/ 0 w 92"/>
                      <a:gd name="T5" fmla="*/ 32 h 125"/>
                      <a:gd name="T6" fmla="*/ 46 w 92"/>
                      <a:gd name="T7" fmla="*/ 17 h 125"/>
                      <a:gd name="T8" fmla="*/ 92 w 92"/>
                      <a:gd name="T9" fmla="*/ 93 h 125"/>
                    </a:gdLst>
                    <a:ahLst/>
                    <a:cxnLst>
                      <a:cxn ang="0">
                        <a:pos x="T0" y="T1"/>
                      </a:cxn>
                      <a:cxn ang="0">
                        <a:pos x="T2" y="T3"/>
                      </a:cxn>
                      <a:cxn ang="0">
                        <a:pos x="T4" y="T5"/>
                      </a:cxn>
                      <a:cxn ang="0">
                        <a:pos x="T6" y="T7"/>
                      </a:cxn>
                      <a:cxn ang="0">
                        <a:pos x="T8" y="T9"/>
                      </a:cxn>
                    </a:cxnLst>
                    <a:rect l="0" t="0" r="r" b="b"/>
                    <a:pathLst>
                      <a:path w="92" h="125">
                        <a:moveTo>
                          <a:pt x="92" y="93"/>
                        </a:moveTo>
                        <a:cubicBezTo>
                          <a:pt x="92" y="118"/>
                          <a:pt x="71" y="125"/>
                          <a:pt x="46" y="108"/>
                        </a:cubicBezTo>
                        <a:cubicBezTo>
                          <a:pt x="21" y="91"/>
                          <a:pt x="0" y="57"/>
                          <a:pt x="0" y="32"/>
                        </a:cubicBezTo>
                        <a:cubicBezTo>
                          <a:pt x="0" y="7"/>
                          <a:pt x="21" y="0"/>
                          <a:pt x="46" y="17"/>
                        </a:cubicBezTo>
                        <a:cubicBezTo>
                          <a:pt x="71" y="34"/>
                          <a:pt x="92" y="68"/>
                          <a:pt x="92" y="93"/>
                        </a:cubicBezTo>
                        <a:close/>
                      </a:path>
                    </a:pathLst>
                  </a:custGeom>
                  <a:solidFill>
                    <a:srgbClr val="26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7" name="Freeform 11"/>
                  <p:cNvSpPr>
                    <a:spLocks/>
                  </p:cNvSpPr>
                  <p:nvPr/>
                </p:nvSpPr>
                <p:spPr bwMode="auto">
                  <a:xfrm>
                    <a:off x="4871" y="2540"/>
                    <a:ext cx="32" cy="27"/>
                  </a:xfrm>
                  <a:custGeom>
                    <a:avLst/>
                    <a:gdLst>
                      <a:gd name="T0" fmla="*/ 11 w 32"/>
                      <a:gd name="T1" fmla="*/ 7 h 27"/>
                      <a:gd name="T2" fmla="*/ 20 w 32"/>
                      <a:gd name="T3" fmla="*/ 4 h 27"/>
                      <a:gd name="T4" fmla="*/ 13 w 32"/>
                      <a:gd name="T5" fmla="*/ 0 h 27"/>
                      <a:gd name="T6" fmla="*/ 0 w 32"/>
                      <a:gd name="T7" fmla="*/ 3 h 27"/>
                      <a:gd name="T8" fmla="*/ 12 w 32"/>
                      <a:gd name="T9" fmla="*/ 22 h 27"/>
                      <a:gd name="T10" fmla="*/ 19 w 32"/>
                      <a:gd name="T11" fmla="*/ 27 h 27"/>
                      <a:gd name="T12" fmla="*/ 11 w 32"/>
                      <a:gd name="T13" fmla="*/ 13 h 27"/>
                      <a:gd name="T14" fmla="*/ 32 w 32"/>
                      <a:gd name="T15" fmla="*/ 26 h 27"/>
                      <a:gd name="T16" fmla="*/ 32 w 32"/>
                      <a:gd name="T17" fmla="*/ 20 h 27"/>
                      <a:gd name="T18" fmla="*/ 11 w 32"/>
                      <a:gd name="T19"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7">
                        <a:moveTo>
                          <a:pt x="11" y="7"/>
                        </a:moveTo>
                        <a:lnTo>
                          <a:pt x="20" y="4"/>
                        </a:lnTo>
                        <a:lnTo>
                          <a:pt x="13" y="0"/>
                        </a:lnTo>
                        <a:lnTo>
                          <a:pt x="0" y="3"/>
                        </a:lnTo>
                        <a:lnTo>
                          <a:pt x="12" y="22"/>
                        </a:lnTo>
                        <a:lnTo>
                          <a:pt x="19" y="27"/>
                        </a:lnTo>
                        <a:lnTo>
                          <a:pt x="11" y="13"/>
                        </a:lnTo>
                        <a:lnTo>
                          <a:pt x="32" y="26"/>
                        </a:lnTo>
                        <a:lnTo>
                          <a:pt x="32" y="20"/>
                        </a:lnTo>
                        <a:lnTo>
                          <a:pt x="11"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8" name="Freeform 12"/>
                  <p:cNvSpPr>
                    <a:spLocks/>
                  </p:cNvSpPr>
                  <p:nvPr/>
                </p:nvSpPr>
                <p:spPr bwMode="auto">
                  <a:xfrm>
                    <a:off x="4922" y="2564"/>
                    <a:ext cx="426" cy="308"/>
                  </a:xfrm>
                  <a:custGeom>
                    <a:avLst/>
                    <a:gdLst>
                      <a:gd name="T0" fmla="*/ 0 w 426"/>
                      <a:gd name="T1" fmla="*/ 0 h 308"/>
                      <a:gd name="T2" fmla="*/ 0 w 426"/>
                      <a:gd name="T3" fmla="*/ 22 h 308"/>
                      <a:gd name="T4" fmla="*/ 426 w 426"/>
                      <a:gd name="T5" fmla="*/ 308 h 308"/>
                      <a:gd name="T6" fmla="*/ 426 w 426"/>
                      <a:gd name="T7" fmla="*/ 286 h 308"/>
                      <a:gd name="T8" fmla="*/ 0 w 426"/>
                      <a:gd name="T9" fmla="*/ 0 h 308"/>
                    </a:gdLst>
                    <a:ahLst/>
                    <a:cxnLst>
                      <a:cxn ang="0">
                        <a:pos x="T0" y="T1"/>
                      </a:cxn>
                      <a:cxn ang="0">
                        <a:pos x="T2" y="T3"/>
                      </a:cxn>
                      <a:cxn ang="0">
                        <a:pos x="T4" y="T5"/>
                      </a:cxn>
                      <a:cxn ang="0">
                        <a:pos x="T6" y="T7"/>
                      </a:cxn>
                      <a:cxn ang="0">
                        <a:pos x="T8" y="T9"/>
                      </a:cxn>
                    </a:cxnLst>
                    <a:rect l="0" t="0" r="r" b="b"/>
                    <a:pathLst>
                      <a:path w="426" h="308">
                        <a:moveTo>
                          <a:pt x="0" y="0"/>
                        </a:moveTo>
                        <a:lnTo>
                          <a:pt x="0" y="22"/>
                        </a:lnTo>
                        <a:lnTo>
                          <a:pt x="426" y="308"/>
                        </a:lnTo>
                        <a:lnTo>
                          <a:pt x="426" y="286"/>
                        </a:lnTo>
                        <a:lnTo>
                          <a:pt x="0" y="0"/>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79" name="Freeform 13"/>
                  <p:cNvSpPr>
                    <a:spLocks/>
                  </p:cNvSpPr>
                  <p:nvPr/>
                </p:nvSpPr>
                <p:spPr bwMode="auto">
                  <a:xfrm>
                    <a:off x="4922" y="2564"/>
                    <a:ext cx="426" cy="308"/>
                  </a:xfrm>
                  <a:custGeom>
                    <a:avLst/>
                    <a:gdLst>
                      <a:gd name="T0" fmla="*/ 0 w 426"/>
                      <a:gd name="T1" fmla="*/ 0 h 308"/>
                      <a:gd name="T2" fmla="*/ 0 w 426"/>
                      <a:gd name="T3" fmla="*/ 22 h 308"/>
                      <a:gd name="T4" fmla="*/ 426 w 426"/>
                      <a:gd name="T5" fmla="*/ 308 h 308"/>
                      <a:gd name="T6" fmla="*/ 426 w 426"/>
                      <a:gd name="T7" fmla="*/ 286 h 308"/>
                      <a:gd name="T8" fmla="*/ 0 w 426"/>
                      <a:gd name="T9" fmla="*/ 0 h 308"/>
                    </a:gdLst>
                    <a:ahLst/>
                    <a:cxnLst>
                      <a:cxn ang="0">
                        <a:pos x="T0" y="T1"/>
                      </a:cxn>
                      <a:cxn ang="0">
                        <a:pos x="T2" y="T3"/>
                      </a:cxn>
                      <a:cxn ang="0">
                        <a:pos x="T4" y="T5"/>
                      </a:cxn>
                      <a:cxn ang="0">
                        <a:pos x="T6" y="T7"/>
                      </a:cxn>
                      <a:cxn ang="0">
                        <a:pos x="T8" y="T9"/>
                      </a:cxn>
                    </a:cxnLst>
                    <a:rect l="0" t="0" r="r" b="b"/>
                    <a:pathLst>
                      <a:path w="426" h="308">
                        <a:moveTo>
                          <a:pt x="0" y="0"/>
                        </a:moveTo>
                        <a:lnTo>
                          <a:pt x="0" y="22"/>
                        </a:lnTo>
                        <a:lnTo>
                          <a:pt x="426" y="308"/>
                        </a:lnTo>
                        <a:lnTo>
                          <a:pt x="426" y="28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80" name="Freeform 14"/>
                  <p:cNvSpPr>
                    <a:spLocks/>
                  </p:cNvSpPr>
                  <p:nvPr/>
                </p:nvSpPr>
                <p:spPr bwMode="auto">
                  <a:xfrm>
                    <a:off x="4859" y="2570"/>
                    <a:ext cx="490" cy="724"/>
                  </a:xfrm>
                  <a:custGeom>
                    <a:avLst/>
                    <a:gdLst>
                      <a:gd name="T0" fmla="*/ 490 w 490"/>
                      <a:gd name="T1" fmla="*/ 724 h 724"/>
                      <a:gd name="T2" fmla="*/ 0 w 490"/>
                      <a:gd name="T3" fmla="*/ 396 h 724"/>
                      <a:gd name="T4" fmla="*/ 0 w 490"/>
                      <a:gd name="T5" fmla="*/ 0 h 724"/>
                      <a:gd name="T6" fmla="*/ 490 w 490"/>
                      <a:gd name="T7" fmla="*/ 328 h 724"/>
                      <a:gd name="T8" fmla="*/ 490 w 490"/>
                      <a:gd name="T9" fmla="*/ 724 h 724"/>
                    </a:gdLst>
                    <a:ahLst/>
                    <a:cxnLst>
                      <a:cxn ang="0">
                        <a:pos x="T0" y="T1"/>
                      </a:cxn>
                      <a:cxn ang="0">
                        <a:pos x="T2" y="T3"/>
                      </a:cxn>
                      <a:cxn ang="0">
                        <a:pos x="T4" y="T5"/>
                      </a:cxn>
                      <a:cxn ang="0">
                        <a:pos x="T6" y="T7"/>
                      </a:cxn>
                      <a:cxn ang="0">
                        <a:pos x="T8" y="T9"/>
                      </a:cxn>
                    </a:cxnLst>
                    <a:rect l="0" t="0" r="r" b="b"/>
                    <a:pathLst>
                      <a:path w="490" h="724">
                        <a:moveTo>
                          <a:pt x="490" y="724"/>
                        </a:moveTo>
                        <a:lnTo>
                          <a:pt x="0" y="396"/>
                        </a:lnTo>
                        <a:lnTo>
                          <a:pt x="0" y="0"/>
                        </a:lnTo>
                        <a:lnTo>
                          <a:pt x="490" y="328"/>
                        </a:lnTo>
                        <a:lnTo>
                          <a:pt x="490" y="724"/>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pic>
              <p:nvPicPr>
                <p:cNvPr id="69" name="Picture 68"/>
                <p:cNvPicPr>
                  <a:picLocks noChangeAspect="1"/>
                </p:cNvPicPr>
                <p:nvPr/>
              </p:nvPicPr>
              <p:blipFill>
                <a:blip r:embed="rId8"/>
                <a:stretch>
                  <a:fillRect/>
                </a:stretch>
              </p:blipFill>
              <p:spPr>
                <a:xfrm>
                  <a:off x="8669881" y="4080943"/>
                  <a:ext cx="315711" cy="417469"/>
                </a:xfrm>
                <a:prstGeom prst="rect">
                  <a:avLst/>
                </a:prstGeom>
              </p:spPr>
            </p:pic>
          </p:grpSp>
        </p:grpSp>
      </p:grpSp>
      <p:pic>
        <p:nvPicPr>
          <p:cNvPr id="81" name="Picture 80"/>
          <p:cNvPicPr>
            <a:picLocks noChangeAspect="1"/>
          </p:cNvPicPr>
          <p:nvPr/>
        </p:nvPicPr>
        <p:blipFill>
          <a:blip r:embed="rId23"/>
          <a:stretch>
            <a:fillRect/>
          </a:stretch>
        </p:blipFill>
        <p:spPr>
          <a:xfrm>
            <a:off x="8364854" y="2501755"/>
            <a:ext cx="1550962" cy="1429192"/>
          </a:xfrm>
          <a:prstGeom prst="rect">
            <a:avLst/>
          </a:prstGeom>
        </p:spPr>
      </p:pic>
      <p:pic>
        <p:nvPicPr>
          <p:cNvPr id="82" name="Picture 81"/>
          <p:cNvPicPr>
            <a:picLocks noChangeAspect="1"/>
          </p:cNvPicPr>
          <p:nvPr/>
        </p:nvPicPr>
        <p:blipFill>
          <a:blip r:embed="rId24"/>
          <a:stretch>
            <a:fillRect/>
          </a:stretch>
        </p:blipFill>
        <p:spPr>
          <a:xfrm>
            <a:off x="2909687" y="5033491"/>
            <a:ext cx="4548173" cy="1694195"/>
          </a:xfrm>
          <a:prstGeom prst="rect">
            <a:avLst/>
          </a:prstGeom>
        </p:spPr>
      </p:pic>
      <p:sp>
        <p:nvSpPr>
          <p:cNvPr id="3" name="Oval 2"/>
          <p:cNvSpPr/>
          <p:nvPr/>
        </p:nvSpPr>
        <p:spPr>
          <a:xfrm>
            <a:off x="2794815" y="3742964"/>
            <a:ext cx="1168562" cy="116856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rgbClr val="FFFFFF"/>
                </a:solidFill>
              </a:rPr>
              <a:t>100%</a:t>
            </a:r>
          </a:p>
        </p:txBody>
      </p:sp>
      <p:sp>
        <p:nvSpPr>
          <p:cNvPr id="83" name="Oval 82"/>
          <p:cNvSpPr/>
          <p:nvPr/>
        </p:nvSpPr>
        <p:spPr>
          <a:xfrm>
            <a:off x="2783878" y="3736471"/>
            <a:ext cx="1168562" cy="116856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rgbClr val="FFFFFF"/>
                </a:solidFill>
              </a:rPr>
              <a:t>80%</a:t>
            </a:r>
          </a:p>
        </p:txBody>
      </p:sp>
      <p:sp>
        <p:nvSpPr>
          <p:cNvPr id="84" name="Oval 83"/>
          <p:cNvSpPr/>
          <p:nvPr/>
        </p:nvSpPr>
        <p:spPr>
          <a:xfrm>
            <a:off x="5009927" y="5406008"/>
            <a:ext cx="847744" cy="847744"/>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600" dirty="0">
                <a:solidFill>
                  <a:srgbClr val="FFFFFF"/>
                </a:solidFill>
              </a:rPr>
              <a:t>20%</a:t>
            </a:r>
          </a:p>
        </p:txBody>
      </p:sp>
    </p:spTree>
    <p:extLst>
      <p:ext uri="{BB962C8B-B14F-4D97-AF65-F5344CB8AC3E}">
        <p14:creationId xmlns:p14="http://schemas.microsoft.com/office/powerpoint/2010/main" val="14233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37" name="Picture 36"/>
          <p:cNvPicPr>
            <a:picLocks noChangeAspect="1"/>
          </p:cNvPicPr>
          <p:nvPr/>
        </p:nvPicPr>
        <p:blipFill>
          <a:blip r:embed="rId2"/>
          <a:stretch>
            <a:fillRect/>
          </a:stretch>
        </p:blipFill>
        <p:spPr>
          <a:xfrm>
            <a:off x="5276829" y="-372994"/>
            <a:ext cx="7263040" cy="4705631"/>
          </a:xfrm>
          <a:prstGeom prst="rect">
            <a:avLst/>
          </a:prstGeom>
        </p:spPr>
      </p:pic>
      <p:pic>
        <p:nvPicPr>
          <p:cNvPr id="32" name="Picture 31"/>
          <p:cNvPicPr>
            <a:picLocks noChangeAspect="1"/>
          </p:cNvPicPr>
          <p:nvPr/>
        </p:nvPicPr>
        <p:blipFill>
          <a:blip r:embed="rId3"/>
          <a:stretch>
            <a:fillRect/>
          </a:stretch>
        </p:blipFill>
        <p:spPr>
          <a:xfrm>
            <a:off x="1908974" y="4146658"/>
            <a:ext cx="2172488" cy="1399878"/>
          </a:xfrm>
          <a:prstGeom prst="rect">
            <a:avLst/>
          </a:prstGeom>
        </p:spPr>
      </p:pic>
      <p:pic>
        <p:nvPicPr>
          <p:cNvPr id="26" name="Picture 25"/>
          <p:cNvPicPr>
            <a:picLocks noChangeAspect="1"/>
          </p:cNvPicPr>
          <p:nvPr/>
        </p:nvPicPr>
        <p:blipFill>
          <a:blip r:embed="rId3"/>
          <a:stretch>
            <a:fillRect/>
          </a:stretch>
        </p:blipFill>
        <p:spPr>
          <a:xfrm>
            <a:off x="2845824" y="4756694"/>
            <a:ext cx="2172488" cy="1399878"/>
          </a:xfrm>
          <a:prstGeom prst="rect">
            <a:avLst/>
          </a:prstGeom>
        </p:spPr>
      </p:pic>
      <p:pic>
        <p:nvPicPr>
          <p:cNvPr id="30" name="Picture 29"/>
          <p:cNvPicPr>
            <a:picLocks noChangeAspect="1"/>
          </p:cNvPicPr>
          <p:nvPr/>
        </p:nvPicPr>
        <p:blipFill>
          <a:blip r:embed="rId4">
            <a:lum bright="-40000" contrast="-40000"/>
          </a:blip>
          <a:stretch>
            <a:fillRect/>
          </a:stretch>
        </p:blipFill>
        <p:spPr>
          <a:xfrm>
            <a:off x="6609431" y="487"/>
            <a:ext cx="5581706" cy="3613545"/>
          </a:xfrm>
          <a:prstGeom prst="rect">
            <a:avLst/>
          </a:prstGeom>
        </p:spPr>
      </p:pic>
      <p:pic>
        <p:nvPicPr>
          <p:cNvPr id="38" name="Picture 37"/>
          <p:cNvPicPr>
            <a:picLocks noChangeAspect="1"/>
          </p:cNvPicPr>
          <p:nvPr/>
        </p:nvPicPr>
        <p:blipFill>
          <a:blip r:embed="rId5"/>
          <a:stretch>
            <a:fillRect/>
          </a:stretch>
        </p:blipFill>
        <p:spPr>
          <a:xfrm>
            <a:off x="8314000" y="268006"/>
            <a:ext cx="3327078" cy="2147676"/>
          </a:xfrm>
          <a:prstGeom prst="rect">
            <a:avLst/>
          </a:prstGeom>
        </p:spPr>
      </p:pic>
      <p:pic>
        <p:nvPicPr>
          <p:cNvPr id="18" name="Picture 17"/>
          <p:cNvPicPr>
            <a:picLocks noChangeAspect="1"/>
          </p:cNvPicPr>
          <p:nvPr/>
        </p:nvPicPr>
        <p:blipFill>
          <a:blip r:embed="rId6"/>
          <a:stretch>
            <a:fillRect/>
          </a:stretch>
        </p:blipFill>
        <p:spPr>
          <a:xfrm>
            <a:off x="3412383" y="1563001"/>
            <a:ext cx="6670141" cy="4309938"/>
          </a:xfrm>
          <a:prstGeom prst="rect">
            <a:avLst/>
          </a:prstGeom>
        </p:spPr>
      </p:pic>
      <p:pic>
        <p:nvPicPr>
          <p:cNvPr id="16" name="Picture 15"/>
          <p:cNvPicPr>
            <a:picLocks noChangeAspect="1"/>
          </p:cNvPicPr>
          <p:nvPr/>
        </p:nvPicPr>
        <p:blipFill>
          <a:blip r:embed="rId7"/>
          <a:stretch>
            <a:fillRect/>
          </a:stretch>
        </p:blipFill>
        <p:spPr>
          <a:xfrm>
            <a:off x="10155562" y="2524083"/>
            <a:ext cx="1468279" cy="948454"/>
          </a:xfrm>
          <a:prstGeom prst="rect">
            <a:avLst/>
          </a:prstGeom>
        </p:spPr>
      </p:pic>
      <p:pic>
        <p:nvPicPr>
          <p:cNvPr id="21" name="Picture 20"/>
          <p:cNvPicPr>
            <a:picLocks noChangeAspect="1"/>
          </p:cNvPicPr>
          <p:nvPr/>
        </p:nvPicPr>
        <p:blipFill>
          <a:blip r:embed="rId8">
            <a:lum bright="-40000" contrast="-40000"/>
          </a:blip>
          <a:stretch>
            <a:fillRect/>
          </a:stretch>
        </p:blipFill>
        <p:spPr>
          <a:xfrm>
            <a:off x="866" y="3742966"/>
            <a:ext cx="4821685" cy="3124218"/>
          </a:xfrm>
          <a:prstGeom prst="rect">
            <a:avLst/>
          </a:prstGeom>
        </p:spPr>
      </p:pic>
      <p:pic>
        <p:nvPicPr>
          <p:cNvPr id="22" name="Picture 21"/>
          <p:cNvPicPr>
            <a:picLocks noChangeAspect="1"/>
          </p:cNvPicPr>
          <p:nvPr/>
        </p:nvPicPr>
        <p:blipFill>
          <a:blip r:embed="rId9"/>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27" name="Picture 26"/>
          <p:cNvPicPr>
            <a:picLocks noChangeAspect="1"/>
          </p:cNvPicPr>
          <p:nvPr/>
        </p:nvPicPr>
        <p:blipFill>
          <a:blip r:embed="rId12"/>
          <a:stretch>
            <a:fillRect/>
          </a:stretch>
        </p:blipFill>
        <p:spPr>
          <a:xfrm>
            <a:off x="216174" y="3302234"/>
            <a:ext cx="2092203" cy="2339668"/>
          </a:xfrm>
          <a:prstGeom prst="rect">
            <a:avLst/>
          </a:prstGeom>
        </p:spPr>
      </p:pic>
      <p:pic>
        <p:nvPicPr>
          <p:cNvPr id="28" name="Picture 27"/>
          <p:cNvPicPr>
            <a:picLocks noChangeAspect="1"/>
          </p:cNvPicPr>
          <p:nvPr/>
        </p:nvPicPr>
        <p:blipFill>
          <a:blip r:embed="rId10"/>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3"/>
          <a:stretch>
            <a:fillRect/>
          </a:stretch>
        </p:blipFill>
        <p:spPr>
          <a:xfrm>
            <a:off x="2789279" y="4960695"/>
            <a:ext cx="447810" cy="1224016"/>
          </a:xfrm>
          <a:prstGeom prst="rect">
            <a:avLst/>
          </a:prstGeom>
        </p:spPr>
      </p:pic>
      <p:grpSp>
        <p:nvGrpSpPr>
          <p:cNvPr id="41" name="Group 40"/>
          <p:cNvGrpSpPr/>
          <p:nvPr/>
        </p:nvGrpSpPr>
        <p:grpSpPr>
          <a:xfrm>
            <a:off x="2607238" y="-984182"/>
            <a:ext cx="2711923" cy="4039552"/>
            <a:chOff x="768089" y="-1605208"/>
            <a:chExt cx="3768750" cy="5613751"/>
          </a:xfrm>
        </p:grpSpPr>
        <p:pic>
          <p:nvPicPr>
            <p:cNvPr id="42" name="Picture 41"/>
            <p:cNvPicPr>
              <a:picLocks noChangeAspect="1"/>
            </p:cNvPicPr>
            <p:nvPr/>
          </p:nvPicPr>
          <p:blipFill>
            <a:blip r:embed="rId14"/>
            <a:stretch>
              <a:fillRect/>
            </a:stretch>
          </p:blipFill>
          <p:spPr>
            <a:xfrm>
              <a:off x="768089" y="-1605208"/>
              <a:ext cx="3768750" cy="5613751"/>
            </a:xfrm>
            <a:prstGeom prst="rect">
              <a:avLst/>
            </a:prstGeom>
          </p:spPr>
        </p:pic>
        <p:pic>
          <p:nvPicPr>
            <p:cNvPr id="43" name="Picture 42"/>
            <p:cNvPicPr>
              <a:picLocks noChangeAspect="1"/>
            </p:cNvPicPr>
            <p:nvPr/>
          </p:nvPicPr>
          <p:blipFill>
            <a:blip r:embed="rId15"/>
            <a:stretch>
              <a:fillRect/>
            </a:stretch>
          </p:blipFill>
          <p:spPr>
            <a:xfrm>
              <a:off x="1755198" y="534480"/>
              <a:ext cx="1361250" cy="1800000"/>
            </a:xfrm>
            <a:prstGeom prst="rect">
              <a:avLst/>
            </a:prstGeom>
          </p:spPr>
        </p:pic>
      </p:grpSp>
      <p:grpSp>
        <p:nvGrpSpPr>
          <p:cNvPr id="47" name="Group 46"/>
          <p:cNvGrpSpPr/>
          <p:nvPr/>
        </p:nvGrpSpPr>
        <p:grpSpPr>
          <a:xfrm>
            <a:off x="5208555" y="713748"/>
            <a:ext cx="2711923" cy="4039552"/>
            <a:chOff x="768089" y="-1605208"/>
            <a:chExt cx="3768750" cy="5613751"/>
          </a:xfrm>
        </p:grpSpPr>
        <p:pic>
          <p:nvPicPr>
            <p:cNvPr id="48" name="Picture 47"/>
            <p:cNvPicPr>
              <a:picLocks noChangeAspect="1"/>
            </p:cNvPicPr>
            <p:nvPr/>
          </p:nvPicPr>
          <p:blipFill>
            <a:blip r:embed="rId14"/>
            <a:stretch>
              <a:fillRect/>
            </a:stretch>
          </p:blipFill>
          <p:spPr>
            <a:xfrm>
              <a:off x="768089" y="-1605208"/>
              <a:ext cx="3768750" cy="5613751"/>
            </a:xfrm>
            <a:prstGeom prst="rect">
              <a:avLst/>
            </a:prstGeom>
          </p:spPr>
        </p:pic>
        <p:pic>
          <p:nvPicPr>
            <p:cNvPr id="49" name="Picture 48"/>
            <p:cNvPicPr>
              <a:picLocks noChangeAspect="1"/>
            </p:cNvPicPr>
            <p:nvPr/>
          </p:nvPicPr>
          <p:blipFill>
            <a:blip r:embed="rId15"/>
            <a:stretch>
              <a:fillRect/>
            </a:stretch>
          </p:blipFill>
          <p:spPr>
            <a:xfrm>
              <a:off x="1755198" y="534480"/>
              <a:ext cx="1361250" cy="1800000"/>
            </a:xfrm>
            <a:prstGeom prst="rect">
              <a:avLst/>
            </a:prstGeom>
          </p:spPr>
        </p:pic>
      </p:grpSp>
      <p:grpSp>
        <p:nvGrpSpPr>
          <p:cNvPr id="50" name="Group 49"/>
          <p:cNvGrpSpPr/>
          <p:nvPr/>
        </p:nvGrpSpPr>
        <p:grpSpPr>
          <a:xfrm>
            <a:off x="7777218" y="2422563"/>
            <a:ext cx="2711923" cy="4039552"/>
            <a:chOff x="768089" y="-1605208"/>
            <a:chExt cx="3768750" cy="5613751"/>
          </a:xfrm>
        </p:grpSpPr>
        <p:pic>
          <p:nvPicPr>
            <p:cNvPr id="51" name="Picture 50"/>
            <p:cNvPicPr>
              <a:picLocks noChangeAspect="1"/>
            </p:cNvPicPr>
            <p:nvPr/>
          </p:nvPicPr>
          <p:blipFill>
            <a:blip r:embed="rId14"/>
            <a:stretch>
              <a:fillRect/>
            </a:stretch>
          </p:blipFill>
          <p:spPr>
            <a:xfrm>
              <a:off x="768089" y="-1605208"/>
              <a:ext cx="3768750" cy="5613751"/>
            </a:xfrm>
            <a:prstGeom prst="rect">
              <a:avLst/>
            </a:prstGeom>
          </p:spPr>
        </p:pic>
        <p:pic>
          <p:nvPicPr>
            <p:cNvPr id="52" name="Picture 51"/>
            <p:cNvPicPr>
              <a:picLocks noChangeAspect="1"/>
            </p:cNvPicPr>
            <p:nvPr/>
          </p:nvPicPr>
          <p:blipFill>
            <a:blip r:embed="rId15"/>
            <a:stretch>
              <a:fillRect/>
            </a:stretch>
          </p:blipFill>
          <p:spPr>
            <a:xfrm>
              <a:off x="1755198" y="534480"/>
              <a:ext cx="1361250" cy="1800000"/>
            </a:xfrm>
            <a:prstGeom prst="rect">
              <a:avLst/>
            </a:prstGeom>
          </p:spPr>
        </p:pic>
      </p:grpSp>
      <p:pic>
        <p:nvPicPr>
          <p:cNvPr id="54" name="Picture 53"/>
          <p:cNvPicPr>
            <a:picLocks noChangeAspect="1"/>
          </p:cNvPicPr>
          <p:nvPr/>
        </p:nvPicPr>
        <p:blipFill>
          <a:blip r:embed="rId16"/>
          <a:stretch>
            <a:fillRect/>
          </a:stretch>
        </p:blipFill>
        <p:spPr>
          <a:xfrm>
            <a:off x="4607736" y="3601883"/>
            <a:ext cx="2339668" cy="1473541"/>
          </a:xfrm>
          <a:prstGeom prst="rect">
            <a:avLst/>
          </a:prstGeom>
        </p:spPr>
      </p:pic>
      <p:sp>
        <p:nvSpPr>
          <p:cNvPr id="39" name="TextBox 38"/>
          <p:cNvSpPr txBox="1"/>
          <p:nvPr/>
        </p:nvSpPr>
        <p:spPr>
          <a:xfrm>
            <a:off x="581807" y="1658224"/>
            <a:ext cx="3599940" cy="720095"/>
          </a:xfrm>
          <a:prstGeom prst="rect">
            <a:avLst/>
          </a:prstGeom>
          <a:noFill/>
        </p:spPr>
        <p:txBody>
          <a:bodyPr wrap="square" rtlCol="0">
            <a:spAutoFit/>
          </a:bodyPr>
          <a:lstStyle/>
          <a:p>
            <a:pPr defTabSz="914367"/>
            <a:r>
              <a:rPr lang="en-US" sz="4000" dirty="0" err="1">
                <a:solidFill>
                  <a:srgbClr val="FFFFFF"/>
                </a:solidFill>
                <a:latin typeface="Segoe UI Light" panose="020B0502040204020203" pitchFamily="34" charset="0"/>
                <a:cs typeface="Segoe UI Light" panose="020B0502040204020203" pitchFamily="34" charset="0"/>
              </a:rPr>
              <a:t>AutoScale</a:t>
            </a: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31" name="Group 30"/>
          <p:cNvGrpSpPr/>
          <p:nvPr/>
        </p:nvGrpSpPr>
        <p:grpSpPr>
          <a:xfrm>
            <a:off x="9787045" y="-79296"/>
            <a:ext cx="934656" cy="1104595"/>
            <a:chOff x="9827324" y="-40038"/>
            <a:chExt cx="934789" cy="1104751"/>
          </a:xfrm>
        </p:grpSpPr>
        <p:pic>
          <p:nvPicPr>
            <p:cNvPr id="40" name="Picture 39"/>
            <p:cNvPicPr>
              <a:picLocks noChangeAspect="1"/>
            </p:cNvPicPr>
            <p:nvPr/>
          </p:nvPicPr>
          <p:blipFill>
            <a:blip r:embed="rId10"/>
            <a:stretch>
              <a:fillRect/>
            </a:stretch>
          </p:blipFill>
          <p:spPr>
            <a:xfrm>
              <a:off x="9827324" y="-40038"/>
              <a:ext cx="934789" cy="1104751"/>
            </a:xfrm>
            <a:prstGeom prst="rect">
              <a:avLst/>
            </a:prstGeom>
          </p:spPr>
        </p:pic>
        <p:pic>
          <p:nvPicPr>
            <p:cNvPr id="44" name="Picture 43"/>
            <p:cNvPicPr>
              <a:picLocks noChangeAspect="1"/>
            </p:cNvPicPr>
            <p:nvPr/>
          </p:nvPicPr>
          <p:blipFill>
            <a:blip r:embed="rId17"/>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2277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460" y="1139756"/>
            <a:ext cx="7336431" cy="4733182"/>
          </a:xfrm>
          <a:prstGeom prst="rect">
            <a:avLst/>
          </a:prstGeom>
        </p:spPr>
      </p:pic>
      <p:pic>
        <p:nvPicPr>
          <p:cNvPr id="26" name="Picture 25"/>
          <p:cNvPicPr>
            <a:picLocks noChangeAspect="1"/>
          </p:cNvPicPr>
          <p:nvPr/>
        </p:nvPicPr>
        <p:blipFill>
          <a:blip r:embed="rId3"/>
          <a:stretch>
            <a:fillRect/>
          </a:stretch>
        </p:blipFill>
        <p:spPr>
          <a:xfrm>
            <a:off x="2845824" y="4756694"/>
            <a:ext cx="2172488" cy="1399878"/>
          </a:xfrm>
          <a:prstGeom prst="rect">
            <a:avLst/>
          </a:prstGeom>
        </p:spPr>
      </p:pic>
      <p:pic>
        <p:nvPicPr>
          <p:cNvPr id="30" name="Picture 29"/>
          <p:cNvPicPr>
            <a:picLocks noChangeAspect="1"/>
          </p:cNvPicPr>
          <p:nvPr/>
        </p:nvPicPr>
        <p:blipFill>
          <a:blip r:embed="rId4"/>
          <a:stretch>
            <a:fillRect/>
          </a:stretch>
        </p:blipFill>
        <p:spPr>
          <a:xfrm>
            <a:off x="6609431" y="487"/>
            <a:ext cx="5581706" cy="3613545"/>
          </a:xfrm>
          <a:prstGeom prst="rect">
            <a:avLst/>
          </a:prstGeom>
        </p:spPr>
      </p:pic>
      <p:pic>
        <p:nvPicPr>
          <p:cNvPr id="38" name="Picture 37"/>
          <p:cNvPicPr>
            <a:picLocks noChangeAspect="1"/>
          </p:cNvPicPr>
          <p:nvPr/>
        </p:nvPicPr>
        <p:blipFill>
          <a:blip r:embed="rId5"/>
          <a:stretch>
            <a:fillRect/>
          </a:stretch>
        </p:blipFill>
        <p:spPr>
          <a:xfrm>
            <a:off x="8314000" y="268006"/>
            <a:ext cx="3327078" cy="2147676"/>
          </a:xfrm>
          <a:prstGeom prst="rect">
            <a:avLst/>
          </a:prstGeom>
        </p:spPr>
      </p:pic>
      <p:pic>
        <p:nvPicPr>
          <p:cNvPr id="18" name="Picture 17"/>
          <p:cNvPicPr>
            <a:picLocks noChangeAspect="1"/>
          </p:cNvPicPr>
          <p:nvPr/>
        </p:nvPicPr>
        <p:blipFill>
          <a:blip r:embed="rId6"/>
          <a:stretch>
            <a:fillRect/>
          </a:stretch>
        </p:blipFill>
        <p:spPr>
          <a:xfrm>
            <a:off x="3412383" y="1563001"/>
            <a:ext cx="6670141" cy="4309938"/>
          </a:xfrm>
          <a:prstGeom prst="rect">
            <a:avLst/>
          </a:prstGeom>
        </p:spPr>
      </p:pic>
      <p:pic>
        <p:nvPicPr>
          <p:cNvPr id="37" name="Picture 36"/>
          <p:cNvPicPr>
            <a:picLocks noChangeAspect="1"/>
          </p:cNvPicPr>
          <p:nvPr/>
        </p:nvPicPr>
        <p:blipFill>
          <a:blip r:embed="rId7"/>
          <a:stretch>
            <a:fillRect/>
          </a:stretch>
        </p:blipFill>
        <p:spPr>
          <a:xfrm>
            <a:off x="5276829" y="-372994"/>
            <a:ext cx="7263040" cy="4705631"/>
          </a:xfrm>
          <a:prstGeom prst="rect">
            <a:avLst/>
          </a:prstGeom>
        </p:spPr>
      </p:pic>
      <p:pic>
        <p:nvPicPr>
          <p:cNvPr id="16" name="Picture 15"/>
          <p:cNvPicPr>
            <a:picLocks noChangeAspect="1"/>
          </p:cNvPicPr>
          <p:nvPr/>
        </p:nvPicPr>
        <p:blipFill>
          <a:blip r:embed="rId8"/>
          <a:stretch>
            <a:fillRect/>
          </a:stretch>
        </p:blipFill>
        <p:spPr>
          <a:xfrm>
            <a:off x="10155562" y="2524083"/>
            <a:ext cx="1468279" cy="948454"/>
          </a:xfrm>
          <a:prstGeom prst="rect">
            <a:avLst/>
          </a:prstGeom>
        </p:spPr>
      </p:pic>
      <p:pic>
        <p:nvPicPr>
          <p:cNvPr id="21" name="Picture 20"/>
          <p:cNvPicPr>
            <a:picLocks noChangeAspect="1"/>
          </p:cNvPicPr>
          <p:nvPr/>
        </p:nvPicPr>
        <p:blipFill>
          <a:blip r:embed="rId9"/>
          <a:stretch>
            <a:fillRect/>
          </a:stretch>
        </p:blipFill>
        <p:spPr>
          <a:xfrm>
            <a:off x="866" y="3742966"/>
            <a:ext cx="4821685" cy="3124218"/>
          </a:xfrm>
          <a:prstGeom prst="rect">
            <a:avLst/>
          </a:prstGeom>
        </p:spPr>
      </p:pic>
      <p:pic>
        <p:nvPicPr>
          <p:cNvPr id="22" name="Picture 21"/>
          <p:cNvPicPr>
            <a:picLocks noChangeAspect="1"/>
          </p:cNvPicPr>
          <p:nvPr/>
        </p:nvPicPr>
        <p:blipFill>
          <a:blip r:embed="rId10"/>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807" y="457622"/>
            <a:ext cx="3599940" cy="720095"/>
          </a:xfrm>
          <a:prstGeom prst="rect">
            <a:avLst/>
          </a:prstGeom>
          <a:noFill/>
        </p:spPr>
        <p:txBody>
          <a:bodyPr wrap="square" rtlCol="0">
            <a:spAutoFit/>
          </a:bodyPr>
          <a:lstStyle/>
          <a:p>
            <a:pPr defTabSz="914367"/>
            <a:r>
              <a:rPr lang="en-US" sz="4000" dirty="0" err="1">
                <a:solidFill>
                  <a:srgbClr val="FFFFFF"/>
                </a:solidFill>
                <a:latin typeface="Segoe UI Light" panose="020B0502040204020203" pitchFamily="34" charset="0"/>
                <a:cs typeface="Segoe UI Light" panose="020B0502040204020203" pitchFamily="34" charset="0"/>
              </a:rPr>
              <a:t>WebJobs</a:t>
            </a:r>
            <a:endParaRPr lang="en-US" sz="4000" dirty="0">
              <a:solidFill>
                <a:srgbClr val="FFFFFF"/>
              </a:solidFill>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6936" y="1636456"/>
            <a:ext cx="1507286" cy="978611"/>
          </a:xfrm>
          <a:prstGeom prst="rect">
            <a:avLst/>
          </a:prstGeom>
        </p:spPr>
      </p:pic>
      <p:pic>
        <p:nvPicPr>
          <p:cNvPr id="27" name="Picture 26"/>
          <p:cNvPicPr>
            <a:picLocks noChangeAspect="1"/>
          </p:cNvPicPr>
          <p:nvPr/>
        </p:nvPicPr>
        <p:blipFill>
          <a:blip r:embed="rId14"/>
          <a:stretch>
            <a:fillRect/>
          </a:stretch>
        </p:blipFill>
        <p:spPr>
          <a:xfrm>
            <a:off x="216174" y="3302234"/>
            <a:ext cx="2092203" cy="2339668"/>
          </a:xfrm>
          <a:prstGeom prst="rect">
            <a:avLst/>
          </a:prstGeom>
        </p:spPr>
      </p:pic>
      <p:pic>
        <p:nvPicPr>
          <p:cNvPr id="28" name="Picture 27"/>
          <p:cNvPicPr>
            <a:picLocks noChangeAspect="1"/>
          </p:cNvPicPr>
          <p:nvPr/>
        </p:nvPicPr>
        <p:blipFill>
          <a:blip r:embed="rId11"/>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5"/>
          <a:stretch>
            <a:fillRect/>
          </a:stretch>
        </p:blipFill>
        <p:spPr>
          <a:xfrm>
            <a:off x="2789279" y="4960695"/>
            <a:ext cx="447810" cy="1224016"/>
          </a:xfrm>
          <a:prstGeom prst="rect">
            <a:avLst/>
          </a:prstGeom>
        </p:spPr>
      </p:pic>
      <p:pic>
        <p:nvPicPr>
          <p:cNvPr id="47" name="Picture 46"/>
          <p:cNvPicPr>
            <a:picLocks noChangeAspect="1"/>
          </p:cNvPicPr>
          <p:nvPr/>
        </p:nvPicPr>
        <p:blipFill>
          <a:blip r:embed="rId16"/>
          <a:stretch>
            <a:fillRect/>
          </a:stretch>
        </p:blipFill>
        <p:spPr>
          <a:xfrm>
            <a:off x="4607736" y="3601883"/>
            <a:ext cx="2339668" cy="1473541"/>
          </a:xfrm>
          <a:prstGeom prst="rect">
            <a:avLst/>
          </a:prstGeom>
        </p:spPr>
      </p:pic>
      <p:pic>
        <p:nvPicPr>
          <p:cNvPr id="8" name="Picture 7"/>
          <p:cNvPicPr>
            <a:picLocks noChangeAspect="1"/>
          </p:cNvPicPr>
          <p:nvPr/>
        </p:nvPicPr>
        <p:blipFill>
          <a:blip r:embed="rId17"/>
          <a:stretch>
            <a:fillRect/>
          </a:stretch>
        </p:blipFill>
        <p:spPr>
          <a:xfrm>
            <a:off x="8780474" y="1630018"/>
            <a:ext cx="813749" cy="529883"/>
          </a:xfrm>
          <a:prstGeom prst="rect">
            <a:avLst/>
          </a:prstGeom>
        </p:spPr>
      </p:pic>
      <p:pic>
        <p:nvPicPr>
          <p:cNvPr id="10" name="Picture 9"/>
          <p:cNvPicPr>
            <a:picLocks noChangeAspect="1"/>
          </p:cNvPicPr>
          <p:nvPr/>
        </p:nvPicPr>
        <p:blipFill>
          <a:blip r:embed="rId18"/>
          <a:stretch>
            <a:fillRect/>
          </a:stretch>
        </p:blipFill>
        <p:spPr>
          <a:xfrm>
            <a:off x="6486613" y="1300705"/>
            <a:ext cx="3996498" cy="2580416"/>
          </a:xfrm>
          <a:prstGeom prst="rect">
            <a:avLst/>
          </a:prstGeom>
        </p:spPr>
      </p:pic>
      <p:grpSp>
        <p:nvGrpSpPr>
          <p:cNvPr id="44" name="Group 43"/>
          <p:cNvGrpSpPr/>
          <p:nvPr/>
        </p:nvGrpSpPr>
        <p:grpSpPr>
          <a:xfrm>
            <a:off x="5093388" y="606817"/>
            <a:ext cx="2775445" cy="4134168"/>
            <a:chOff x="3719625" y="-351356"/>
            <a:chExt cx="2775838" cy="4134755"/>
          </a:xfrm>
        </p:grpSpPr>
        <p:pic>
          <p:nvPicPr>
            <p:cNvPr id="45" name="Picture 44"/>
            <p:cNvPicPr>
              <a:picLocks noChangeAspect="1"/>
            </p:cNvPicPr>
            <p:nvPr/>
          </p:nvPicPr>
          <p:blipFill>
            <a:blip r:embed="rId19"/>
            <a:stretch>
              <a:fillRect/>
            </a:stretch>
          </p:blipFill>
          <p:spPr>
            <a:xfrm>
              <a:off x="3719625" y="-351356"/>
              <a:ext cx="2775838" cy="4134755"/>
            </a:xfrm>
            <a:prstGeom prst="rect">
              <a:avLst/>
            </a:prstGeom>
          </p:spPr>
        </p:pic>
        <p:pic>
          <p:nvPicPr>
            <p:cNvPr id="46" name="Picture 45"/>
            <p:cNvPicPr>
              <a:picLocks noChangeAspect="1"/>
            </p:cNvPicPr>
            <p:nvPr/>
          </p:nvPicPr>
          <p:blipFill>
            <a:blip r:embed="rId20"/>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1"/>
          <a:stretch>
            <a:fillRect/>
          </a:stretch>
        </p:blipFill>
        <p:spPr>
          <a:xfrm>
            <a:off x="9141274" y="4968216"/>
            <a:ext cx="2301528" cy="1495304"/>
          </a:xfrm>
          <a:prstGeom prst="rect">
            <a:avLst/>
          </a:prstGeom>
        </p:spPr>
      </p:pic>
      <p:pic>
        <p:nvPicPr>
          <p:cNvPr id="12" name="Picture 11"/>
          <p:cNvPicPr>
            <a:picLocks noChangeAspect="1"/>
          </p:cNvPicPr>
          <p:nvPr/>
        </p:nvPicPr>
        <p:blipFill>
          <a:blip r:embed="rId22"/>
          <a:stretch>
            <a:fillRect/>
          </a:stretch>
        </p:blipFill>
        <p:spPr>
          <a:xfrm>
            <a:off x="9669417" y="4344425"/>
            <a:ext cx="1245243" cy="1789142"/>
          </a:xfrm>
          <a:prstGeom prst="rect">
            <a:avLst/>
          </a:prstGeom>
        </p:spPr>
      </p:pic>
      <p:pic>
        <p:nvPicPr>
          <p:cNvPr id="13" name="Picture 12"/>
          <p:cNvPicPr>
            <a:picLocks noChangeAspect="1"/>
          </p:cNvPicPr>
          <p:nvPr/>
        </p:nvPicPr>
        <p:blipFill>
          <a:blip r:embed="rId23"/>
          <a:stretch>
            <a:fillRect/>
          </a:stretch>
        </p:blipFill>
        <p:spPr>
          <a:xfrm>
            <a:off x="9489519" y="6190475"/>
            <a:ext cx="702080" cy="462910"/>
          </a:xfrm>
          <a:prstGeom prst="rect">
            <a:avLst/>
          </a:prstGeom>
        </p:spPr>
      </p:pic>
      <p:grpSp>
        <p:nvGrpSpPr>
          <p:cNvPr id="39" name="Group 38"/>
          <p:cNvGrpSpPr/>
          <p:nvPr/>
        </p:nvGrpSpPr>
        <p:grpSpPr>
          <a:xfrm>
            <a:off x="9787045" y="-79296"/>
            <a:ext cx="934656" cy="1104595"/>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4"/>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4105904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sp>
        <p:nvSpPr>
          <p:cNvPr id="4" name="TextBox 3"/>
          <p:cNvSpPr txBox="1"/>
          <p:nvPr/>
        </p:nvSpPr>
        <p:spPr>
          <a:xfrm>
            <a:off x="125977" y="135221"/>
            <a:ext cx="12065160" cy="657331"/>
          </a:xfrm>
          <a:prstGeom prst="rect">
            <a:avLst/>
          </a:prstGeom>
          <a:noFill/>
        </p:spPr>
        <p:txBody>
          <a:bodyPr wrap="square" rtlCol="0">
            <a:spAutoFit/>
          </a:bodyPr>
          <a:lstStyle/>
          <a:p>
            <a:pPr algn="r" defTabSz="914367"/>
            <a:r>
              <a:rPr lang="en-US" sz="3600" dirty="0">
                <a:solidFill>
                  <a:prstClr val="white"/>
                </a:solidFill>
              </a:rPr>
              <a:t>Site Extensions</a:t>
            </a:r>
          </a:p>
        </p:txBody>
      </p:sp>
      <p:pic>
        <p:nvPicPr>
          <p:cNvPr id="5" name="Picture 4"/>
          <p:cNvPicPr>
            <a:picLocks noChangeAspect="1"/>
          </p:cNvPicPr>
          <p:nvPr/>
        </p:nvPicPr>
        <p:blipFill>
          <a:blip r:embed="rId2"/>
          <a:stretch>
            <a:fillRect/>
          </a:stretch>
        </p:blipFill>
        <p:spPr>
          <a:xfrm>
            <a:off x="518957" y="781461"/>
            <a:ext cx="7817089" cy="3581013"/>
          </a:xfrm>
          <a:prstGeom prst="rect">
            <a:avLst/>
          </a:prstGeom>
        </p:spPr>
      </p:pic>
      <p:pic>
        <p:nvPicPr>
          <p:cNvPr id="6" name="Picture 5"/>
          <p:cNvPicPr>
            <a:picLocks noChangeAspect="1"/>
          </p:cNvPicPr>
          <p:nvPr/>
        </p:nvPicPr>
        <p:blipFill>
          <a:blip r:embed="rId3"/>
          <a:stretch>
            <a:fillRect/>
          </a:stretch>
        </p:blipFill>
        <p:spPr>
          <a:xfrm>
            <a:off x="1250754" y="1566905"/>
            <a:ext cx="8053006" cy="3529493"/>
          </a:xfrm>
          <a:prstGeom prst="rect">
            <a:avLst/>
          </a:prstGeom>
        </p:spPr>
      </p:pic>
    </p:spTree>
    <p:extLst>
      <p:ext uri="{BB962C8B-B14F-4D97-AF65-F5344CB8AC3E}">
        <p14:creationId xmlns:p14="http://schemas.microsoft.com/office/powerpoint/2010/main" val="31863886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176" name="Picture 175"/>
          <p:cNvPicPr>
            <a:picLocks noChangeAspect="1"/>
          </p:cNvPicPr>
          <p:nvPr/>
        </p:nvPicPr>
        <p:blipFill>
          <a:blip r:embed="rId3"/>
          <a:stretch>
            <a:fillRect/>
          </a:stretch>
        </p:blipFill>
        <p:spPr>
          <a:xfrm>
            <a:off x="1211305" y="3909174"/>
            <a:ext cx="10555945" cy="2531345"/>
          </a:xfrm>
          <a:prstGeom prst="rect">
            <a:avLst/>
          </a:prstGeom>
        </p:spPr>
      </p:pic>
      <p:sp>
        <p:nvSpPr>
          <p:cNvPr id="2" name="Title 1"/>
          <p:cNvSpPr>
            <a:spLocks noGrp="1"/>
          </p:cNvSpPr>
          <p:nvPr>
            <p:ph type="title"/>
          </p:nvPr>
        </p:nvSpPr>
        <p:spPr/>
        <p:txBody>
          <a:bodyPr>
            <a:normAutofit/>
          </a:bodyPr>
          <a:lstStyle/>
          <a:p>
            <a:r>
              <a:rPr lang="en-US" dirty="0">
                <a:solidFill>
                  <a:schemeClr val="bg1"/>
                </a:solidFill>
              </a:rPr>
              <a:t>In-depth</a:t>
            </a:r>
            <a:r>
              <a:rPr lang="en-US">
                <a:solidFill>
                  <a:schemeClr val="bg1"/>
                </a:solidFill>
              </a:rPr>
              <a:t> app </a:t>
            </a:r>
            <a:r>
              <a:rPr lang="en-US" smtClean="0">
                <a:solidFill>
                  <a:schemeClr val="bg1"/>
                </a:solidFill>
              </a:rPr>
              <a:t>monitoring</a:t>
            </a:r>
            <a:endParaRPr lang="en-US" dirty="0">
              <a:solidFill>
                <a:schemeClr val="bg1"/>
              </a:solidFill>
            </a:endParaRPr>
          </a:p>
        </p:txBody>
      </p:sp>
      <p:sp>
        <p:nvSpPr>
          <p:cNvPr id="8" name="Rectangle 5"/>
          <p:cNvSpPr>
            <a:spLocks noChangeArrowheads="1"/>
          </p:cNvSpPr>
          <p:nvPr/>
        </p:nvSpPr>
        <p:spPr bwMode="auto">
          <a:xfrm>
            <a:off x="3521440" y="2222672"/>
            <a:ext cx="1225377" cy="19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9" name="Freeform 6"/>
          <p:cNvSpPr>
            <a:spLocks/>
          </p:cNvSpPr>
          <p:nvPr/>
        </p:nvSpPr>
        <p:spPr bwMode="auto">
          <a:xfrm>
            <a:off x="3521440" y="2222672"/>
            <a:ext cx="1225377" cy="19047"/>
          </a:xfrm>
          <a:custGeom>
            <a:avLst/>
            <a:gdLst>
              <a:gd name="T0" fmla="*/ 0 w 772"/>
              <a:gd name="T1" fmla="*/ 12 h 12"/>
              <a:gd name="T2" fmla="*/ 772 w 772"/>
              <a:gd name="T3" fmla="*/ 12 h 12"/>
              <a:gd name="T4" fmla="*/ 772 w 772"/>
              <a:gd name="T5" fmla="*/ 0 h 12"/>
              <a:gd name="T6" fmla="*/ 0 w 772"/>
              <a:gd name="T7" fmla="*/ 0 h 12"/>
            </a:gdLst>
            <a:ahLst/>
            <a:cxnLst>
              <a:cxn ang="0">
                <a:pos x="T0" y="T1"/>
              </a:cxn>
              <a:cxn ang="0">
                <a:pos x="T2" y="T3"/>
              </a:cxn>
              <a:cxn ang="0">
                <a:pos x="T4" y="T5"/>
              </a:cxn>
              <a:cxn ang="0">
                <a:pos x="T6" y="T7"/>
              </a:cxn>
            </a:cxnLst>
            <a:rect l="0" t="0" r="r" b="b"/>
            <a:pathLst>
              <a:path w="772" h="12">
                <a:moveTo>
                  <a:pt x="0" y="12"/>
                </a:moveTo>
                <a:lnTo>
                  <a:pt x="772" y="12"/>
                </a:lnTo>
                <a:lnTo>
                  <a:pt x="77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0" name="Rectangle 7"/>
          <p:cNvSpPr>
            <a:spLocks noChangeArrowheads="1"/>
          </p:cNvSpPr>
          <p:nvPr/>
        </p:nvSpPr>
        <p:spPr bwMode="auto">
          <a:xfrm>
            <a:off x="7232489" y="2868693"/>
            <a:ext cx="1225377" cy="19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1" name="Rectangle 8"/>
          <p:cNvSpPr>
            <a:spLocks noChangeArrowheads="1"/>
          </p:cNvSpPr>
          <p:nvPr/>
        </p:nvSpPr>
        <p:spPr bwMode="auto">
          <a:xfrm>
            <a:off x="7232489" y="2868693"/>
            <a:ext cx="1225377" cy="1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 name="Rectangle 9"/>
          <p:cNvSpPr>
            <a:spLocks noChangeArrowheads="1"/>
          </p:cNvSpPr>
          <p:nvPr/>
        </p:nvSpPr>
        <p:spPr bwMode="auto">
          <a:xfrm>
            <a:off x="5196016" y="3232178"/>
            <a:ext cx="19047" cy="12269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 name="Freeform 10"/>
          <p:cNvSpPr>
            <a:spLocks/>
          </p:cNvSpPr>
          <p:nvPr/>
        </p:nvSpPr>
        <p:spPr bwMode="auto">
          <a:xfrm>
            <a:off x="5196016" y="3232178"/>
            <a:ext cx="19047" cy="1226964"/>
          </a:xfrm>
          <a:custGeom>
            <a:avLst/>
            <a:gdLst>
              <a:gd name="T0" fmla="*/ 0 w 12"/>
              <a:gd name="T1" fmla="*/ 0 h 773"/>
              <a:gd name="T2" fmla="*/ 0 w 12"/>
              <a:gd name="T3" fmla="*/ 773 h 773"/>
              <a:gd name="T4" fmla="*/ 12 w 12"/>
              <a:gd name="T5" fmla="*/ 773 h 773"/>
              <a:gd name="T6" fmla="*/ 12 w 12"/>
              <a:gd name="T7" fmla="*/ 0 h 773"/>
            </a:gdLst>
            <a:ahLst/>
            <a:cxnLst>
              <a:cxn ang="0">
                <a:pos x="T0" y="T1"/>
              </a:cxn>
              <a:cxn ang="0">
                <a:pos x="T2" y="T3"/>
              </a:cxn>
              <a:cxn ang="0">
                <a:pos x="T4" y="T5"/>
              </a:cxn>
              <a:cxn ang="0">
                <a:pos x="T6" y="T7"/>
              </a:cxn>
            </a:cxnLst>
            <a:rect l="0" t="0" r="r" b="b"/>
            <a:pathLst>
              <a:path w="12" h="773">
                <a:moveTo>
                  <a:pt x="0" y="0"/>
                </a:moveTo>
                <a:lnTo>
                  <a:pt x="0" y="773"/>
                </a:lnTo>
                <a:lnTo>
                  <a:pt x="12" y="77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4" name="Freeform 11"/>
          <p:cNvSpPr>
            <a:spLocks/>
          </p:cNvSpPr>
          <p:nvPr/>
        </p:nvSpPr>
        <p:spPr bwMode="auto">
          <a:xfrm>
            <a:off x="6881702" y="2665522"/>
            <a:ext cx="1187282" cy="1584100"/>
          </a:xfrm>
          <a:custGeom>
            <a:avLst/>
            <a:gdLst>
              <a:gd name="T0" fmla="*/ 0 w 748"/>
              <a:gd name="T1" fmla="*/ 0 h 998"/>
              <a:gd name="T2" fmla="*/ 0 w 748"/>
              <a:gd name="T3" fmla="*/ 779 h 998"/>
              <a:gd name="T4" fmla="*/ 736 w 748"/>
              <a:gd name="T5" fmla="*/ 779 h 998"/>
              <a:gd name="T6" fmla="*/ 736 w 748"/>
              <a:gd name="T7" fmla="*/ 998 h 998"/>
              <a:gd name="T8" fmla="*/ 748 w 748"/>
              <a:gd name="T9" fmla="*/ 998 h 998"/>
              <a:gd name="T10" fmla="*/ 748 w 748"/>
              <a:gd name="T11" fmla="*/ 767 h 998"/>
              <a:gd name="T12" fmla="*/ 12 w 748"/>
              <a:gd name="T13" fmla="*/ 767 h 998"/>
              <a:gd name="T14" fmla="*/ 12 w 748"/>
              <a:gd name="T15" fmla="*/ 0 h 998"/>
              <a:gd name="T16" fmla="*/ 0 w 748"/>
              <a:gd name="T17" fmla="*/ 0 h 998"/>
              <a:gd name="T18" fmla="*/ 0 w 748"/>
              <a:gd name="T19" fmla="*/ 0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8" h="998">
                <a:moveTo>
                  <a:pt x="0" y="0"/>
                </a:moveTo>
                <a:lnTo>
                  <a:pt x="0" y="779"/>
                </a:lnTo>
                <a:lnTo>
                  <a:pt x="736" y="779"/>
                </a:lnTo>
                <a:lnTo>
                  <a:pt x="736" y="998"/>
                </a:lnTo>
                <a:lnTo>
                  <a:pt x="748" y="998"/>
                </a:lnTo>
                <a:lnTo>
                  <a:pt x="748" y="767"/>
                </a:lnTo>
                <a:lnTo>
                  <a:pt x="12" y="767"/>
                </a:lnTo>
                <a:lnTo>
                  <a:pt x="12"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5" name="Freeform 12"/>
          <p:cNvSpPr>
            <a:spLocks/>
          </p:cNvSpPr>
          <p:nvPr/>
        </p:nvSpPr>
        <p:spPr bwMode="auto">
          <a:xfrm>
            <a:off x="2969070" y="3214719"/>
            <a:ext cx="1922190" cy="569832"/>
          </a:xfrm>
          <a:custGeom>
            <a:avLst/>
            <a:gdLst>
              <a:gd name="T0" fmla="*/ 1211 w 1211"/>
              <a:gd name="T1" fmla="*/ 0 h 359"/>
              <a:gd name="T2" fmla="*/ 0 w 1211"/>
              <a:gd name="T3" fmla="*/ 0 h 359"/>
              <a:gd name="T4" fmla="*/ 0 w 1211"/>
              <a:gd name="T5" fmla="*/ 359 h 359"/>
              <a:gd name="T6" fmla="*/ 12 w 1211"/>
              <a:gd name="T7" fmla="*/ 359 h 359"/>
              <a:gd name="T8" fmla="*/ 12 w 1211"/>
              <a:gd name="T9" fmla="*/ 12 h 359"/>
              <a:gd name="T10" fmla="*/ 1211 w 1211"/>
              <a:gd name="T11" fmla="*/ 12 h 359"/>
              <a:gd name="T12" fmla="*/ 1211 w 1211"/>
              <a:gd name="T13" fmla="*/ 0 h 359"/>
              <a:gd name="T14" fmla="*/ 1211 w 1211"/>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1" h="359">
                <a:moveTo>
                  <a:pt x="1211" y="0"/>
                </a:moveTo>
                <a:lnTo>
                  <a:pt x="0" y="0"/>
                </a:lnTo>
                <a:lnTo>
                  <a:pt x="0" y="359"/>
                </a:lnTo>
                <a:lnTo>
                  <a:pt x="12" y="359"/>
                </a:lnTo>
                <a:lnTo>
                  <a:pt x="12" y="12"/>
                </a:lnTo>
                <a:lnTo>
                  <a:pt x="1211" y="12"/>
                </a:lnTo>
                <a:lnTo>
                  <a:pt x="1211" y="0"/>
                </a:lnTo>
                <a:lnTo>
                  <a:pt x="12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nvGrpSpPr>
          <p:cNvPr id="1359" name="Group 1358"/>
          <p:cNvGrpSpPr/>
          <p:nvPr/>
        </p:nvGrpSpPr>
        <p:grpSpPr>
          <a:xfrm>
            <a:off x="4557932" y="1316339"/>
            <a:ext cx="2936459" cy="2142821"/>
            <a:chOff x="4557713" y="1716088"/>
            <a:chExt cx="2936875" cy="2143125"/>
          </a:xfrm>
        </p:grpSpPr>
        <p:sp>
          <p:nvSpPr>
            <p:cNvPr id="16" name="Freeform 13"/>
            <p:cNvSpPr>
              <a:spLocks/>
            </p:cNvSpPr>
            <p:nvPr/>
          </p:nvSpPr>
          <p:spPr bwMode="auto">
            <a:xfrm>
              <a:off x="4557713" y="1716088"/>
              <a:ext cx="2936875" cy="2143125"/>
            </a:xfrm>
            <a:custGeom>
              <a:avLst/>
              <a:gdLst>
                <a:gd name="T0" fmla="*/ 2365 w 2458"/>
                <a:gd name="T1" fmla="*/ 0 h 1793"/>
                <a:gd name="T2" fmla="*/ 93 w 2458"/>
                <a:gd name="T3" fmla="*/ 0 h 1793"/>
                <a:gd name="T4" fmla="*/ 0 w 2458"/>
                <a:gd name="T5" fmla="*/ 93 h 1793"/>
                <a:gd name="T6" fmla="*/ 0 w 2458"/>
                <a:gd name="T7" fmla="*/ 1700 h 1793"/>
                <a:gd name="T8" fmla="*/ 93 w 2458"/>
                <a:gd name="T9" fmla="*/ 1793 h 1793"/>
                <a:gd name="T10" fmla="*/ 2365 w 2458"/>
                <a:gd name="T11" fmla="*/ 1793 h 1793"/>
                <a:gd name="T12" fmla="*/ 2458 w 2458"/>
                <a:gd name="T13" fmla="*/ 1700 h 1793"/>
                <a:gd name="T14" fmla="*/ 2458 w 2458"/>
                <a:gd name="T15" fmla="*/ 93 h 1793"/>
                <a:gd name="T16" fmla="*/ 2365 w 2458"/>
                <a:gd name="T17" fmla="*/ 0 h 1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8" h="1793">
                  <a:moveTo>
                    <a:pt x="2365" y="0"/>
                  </a:moveTo>
                  <a:cubicBezTo>
                    <a:pt x="93" y="0"/>
                    <a:pt x="93" y="0"/>
                    <a:pt x="93" y="0"/>
                  </a:cubicBezTo>
                  <a:cubicBezTo>
                    <a:pt x="15" y="0"/>
                    <a:pt x="0" y="16"/>
                    <a:pt x="0" y="93"/>
                  </a:cubicBezTo>
                  <a:cubicBezTo>
                    <a:pt x="0" y="1700"/>
                    <a:pt x="0" y="1700"/>
                    <a:pt x="0" y="1700"/>
                  </a:cubicBezTo>
                  <a:cubicBezTo>
                    <a:pt x="0" y="1777"/>
                    <a:pt x="15" y="1793"/>
                    <a:pt x="93" y="1793"/>
                  </a:cubicBezTo>
                  <a:cubicBezTo>
                    <a:pt x="2365" y="1793"/>
                    <a:pt x="2365" y="1793"/>
                    <a:pt x="2365" y="1793"/>
                  </a:cubicBezTo>
                  <a:cubicBezTo>
                    <a:pt x="2442" y="1793"/>
                    <a:pt x="2458" y="1777"/>
                    <a:pt x="2458" y="1700"/>
                  </a:cubicBezTo>
                  <a:cubicBezTo>
                    <a:pt x="2458" y="93"/>
                    <a:pt x="2458" y="93"/>
                    <a:pt x="2458" y="93"/>
                  </a:cubicBezTo>
                  <a:cubicBezTo>
                    <a:pt x="2458" y="16"/>
                    <a:pt x="2442" y="0"/>
                    <a:pt x="2365" y="0"/>
                  </a:cubicBez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7" name="Oval 14"/>
            <p:cNvSpPr>
              <a:spLocks noChangeArrowheads="1"/>
            </p:cNvSpPr>
            <p:nvPr/>
          </p:nvSpPr>
          <p:spPr bwMode="auto">
            <a:xfrm>
              <a:off x="4638675" y="1771650"/>
              <a:ext cx="292100" cy="293688"/>
            </a:xfrm>
            <a:prstGeom prst="ellipse">
              <a:avLst/>
            </a:prstGeom>
            <a:solidFill>
              <a:srgbClr val="27A8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 name="Freeform 15"/>
            <p:cNvSpPr>
              <a:spLocks/>
            </p:cNvSpPr>
            <p:nvPr/>
          </p:nvSpPr>
          <p:spPr bwMode="auto">
            <a:xfrm>
              <a:off x="4699000" y="1854200"/>
              <a:ext cx="171450" cy="128588"/>
            </a:xfrm>
            <a:custGeom>
              <a:avLst/>
              <a:gdLst>
                <a:gd name="T0" fmla="*/ 36 w 108"/>
                <a:gd name="T1" fmla="*/ 30 h 81"/>
                <a:gd name="T2" fmla="*/ 68 w 108"/>
                <a:gd name="T3" fmla="*/ 0 h 81"/>
                <a:gd name="T4" fmla="*/ 42 w 108"/>
                <a:gd name="T5" fmla="*/ 0 h 81"/>
                <a:gd name="T6" fmla="*/ 0 w 108"/>
                <a:gd name="T7" fmla="*/ 40 h 81"/>
                <a:gd name="T8" fmla="*/ 42 w 108"/>
                <a:gd name="T9" fmla="*/ 81 h 81"/>
                <a:gd name="T10" fmla="*/ 68 w 108"/>
                <a:gd name="T11" fmla="*/ 81 h 81"/>
                <a:gd name="T12" fmla="*/ 36 w 108"/>
                <a:gd name="T13" fmla="*/ 51 h 81"/>
                <a:gd name="T14" fmla="*/ 108 w 108"/>
                <a:gd name="T15" fmla="*/ 51 h 81"/>
                <a:gd name="T16" fmla="*/ 108 w 108"/>
                <a:gd name="T17" fmla="*/ 30 h 81"/>
                <a:gd name="T18" fmla="*/ 36 w 108"/>
                <a:gd name="T19" fmla="*/ 3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1">
                  <a:moveTo>
                    <a:pt x="36" y="30"/>
                  </a:moveTo>
                  <a:lnTo>
                    <a:pt x="68" y="0"/>
                  </a:lnTo>
                  <a:lnTo>
                    <a:pt x="42" y="0"/>
                  </a:lnTo>
                  <a:lnTo>
                    <a:pt x="0" y="40"/>
                  </a:lnTo>
                  <a:lnTo>
                    <a:pt x="42" y="81"/>
                  </a:lnTo>
                  <a:lnTo>
                    <a:pt x="68" y="81"/>
                  </a:lnTo>
                  <a:lnTo>
                    <a:pt x="36" y="51"/>
                  </a:lnTo>
                  <a:lnTo>
                    <a:pt x="108" y="51"/>
                  </a:lnTo>
                  <a:lnTo>
                    <a:pt x="108" y="30"/>
                  </a:lnTo>
                  <a:lnTo>
                    <a:pt x="36"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9" name="Rectangle 16"/>
            <p:cNvSpPr>
              <a:spLocks noChangeArrowheads="1"/>
            </p:cNvSpPr>
            <p:nvPr/>
          </p:nvSpPr>
          <p:spPr bwMode="auto">
            <a:xfrm>
              <a:off x="4629150" y="2120900"/>
              <a:ext cx="2794000" cy="1639888"/>
            </a:xfrm>
            <a:prstGeom prst="rect">
              <a:avLst/>
            </a:prstGeom>
            <a:solidFill>
              <a:srgbClr val="27A8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 name="Rectangle 17"/>
            <p:cNvSpPr>
              <a:spLocks noChangeArrowheads="1"/>
            </p:cNvSpPr>
            <p:nvPr/>
          </p:nvSpPr>
          <p:spPr bwMode="auto">
            <a:xfrm>
              <a:off x="4976813" y="1824038"/>
              <a:ext cx="2438400" cy="173038"/>
            </a:xfrm>
            <a:prstGeom prst="rect">
              <a:avLst/>
            </a:prstGeom>
            <a:solidFill>
              <a:srgbClr val="BD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 name="Freeform 18"/>
            <p:cNvSpPr>
              <a:spLocks noEditPoints="1"/>
            </p:cNvSpPr>
            <p:nvPr/>
          </p:nvSpPr>
          <p:spPr bwMode="auto">
            <a:xfrm>
              <a:off x="5461000" y="2439988"/>
              <a:ext cx="1131888" cy="1001713"/>
            </a:xfrm>
            <a:custGeom>
              <a:avLst/>
              <a:gdLst>
                <a:gd name="T0" fmla="*/ 806 w 948"/>
                <a:gd name="T1" fmla="*/ 165 h 838"/>
                <a:gd name="T2" fmla="*/ 474 w 948"/>
                <a:gd name="T3" fmla="*/ 0 h 838"/>
                <a:gd name="T4" fmla="*/ 220 w 948"/>
                <a:gd name="T5" fmla="*/ 86 h 838"/>
                <a:gd name="T6" fmla="*/ 141 w 948"/>
                <a:gd name="T7" fmla="*/ 673 h 838"/>
                <a:gd name="T8" fmla="*/ 474 w 948"/>
                <a:gd name="T9" fmla="*/ 838 h 838"/>
                <a:gd name="T10" fmla="*/ 728 w 948"/>
                <a:gd name="T11" fmla="*/ 751 h 838"/>
                <a:gd name="T12" fmla="*/ 806 w 948"/>
                <a:gd name="T13" fmla="*/ 165 h 838"/>
                <a:gd name="T14" fmla="*/ 827 w 948"/>
                <a:gd name="T15" fmla="*/ 510 h 838"/>
                <a:gd name="T16" fmla="*/ 764 w 948"/>
                <a:gd name="T17" fmla="*/ 463 h 838"/>
                <a:gd name="T18" fmla="*/ 751 w 948"/>
                <a:gd name="T19" fmla="*/ 387 h 838"/>
                <a:gd name="T20" fmla="*/ 649 w 948"/>
                <a:gd name="T21" fmla="*/ 367 h 838"/>
                <a:gd name="T22" fmla="*/ 529 w 948"/>
                <a:gd name="T23" fmla="*/ 251 h 838"/>
                <a:gd name="T24" fmla="*/ 759 w 948"/>
                <a:gd name="T25" fmla="*/ 188 h 838"/>
                <a:gd name="T26" fmla="*/ 764 w 948"/>
                <a:gd name="T27" fmla="*/ 194 h 838"/>
                <a:gd name="T28" fmla="*/ 827 w 948"/>
                <a:gd name="T29" fmla="*/ 510 h 838"/>
                <a:gd name="T30" fmla="*/ 597 w 948"/>
                <a:gd name="T31" fmla="*/ 610 h 838"/>
                <a:gd name="T32" fmla="*/ 584 w 948"/>
                <a:gd name="T33" fmla="*/ 581 h 838"/>
                <a:gd name="T34" fmla="*/ 487 w 948"/>
                <a:gd name="T35" fmla="*/ 563 h 838"/>
                <a:gd name="T36" fmla="*/ 387 w 948"/>
                <a:gd name="T37" fmla="*/ 497 h 838"/>
                <a:gd name="T38" fmla="*/ 366 w 948"/>
                <a:gd name="T39" fmla="*/ 479 h 838"/>
                <a:gd name="T40" fmla="*/ 369 w 948"/>
                <a:gd name="T41" fmla="*/ 369 h 838"/>
                <a:gd name="T42" fmla="*/ 382 w 948"/>
                <a:gd name="T43" fmla="*/ 356 h 838"/>
                <a:gd name="T44" fmla="*/ 479 w 948"/>
                <a:gd name="T45" fmla="*/ 277 h 838"/>
                <a:gd name="T46" fmla="*/ 620 w 948"/>
                <a:gd name="T47" fmla="*/ 395 h 838"/>
                <a:gd name="T48" fmla="*/ 628 w 948"/>
                <a:gd name="T49" fmla="*/ 476 h 838"/>
                <a:gd name="T50" fmla="*/ 741 w 948"/>
                <a:gd name="T51" fmla="*/ 492 h 838"/>
                <a:gd name="T52" fmla="*/ 746 w 948"/>
                <a:gd name="T53" fmla="*/ 490 h 838"/>
                <a:gd name="T54" fmla="*/ 819 w 948"/>
                <a:gd name="T55" fmla="*/ 539 h 838"/>
                <a:gd name="T56" fmla="*/ 777 w 948"/>
                <a:gd name="T57" fmla="*/ 620 h 838"/>
                <a:gd name="T58" fmla="*/ 597 w 948"/>
                <a:gd name="T59" fmla="*/ 610 h 838"/>
                <a:gd name="T60" fmla="*/ 709 w 948"/>
                <a:gd name="T61" fmla="*/ 139 h 838"/>
                <a:gd name="T62" fmla="*/ 468 w 948"/>
                <a:gd name="T63" fmla="*/ 183 h 838"/>
                <a:gd name="T64" fmla="*/ 366 w 948"/>
                <a:gd name="T65" fmla="*/ 73 h 838"/>
                <a:gd name="T66" fmla="*/ 479 w 948"/>
                <a:gd name="T67" fmla="*/ 55 h 838"/>
                <a:gd name="T68" fmla="*/ 709 w 948"/>
                <a:gd name="T69" fmla="*/ 139 h 838"/>
                <a:gd name="T70" fmla="*/ 251 w 948"/>
                <a:gd name="T71" fmla="*/ 128 h 838"/>
                <a:gd name="T72" fmla="*/ 311 w 948"/>
                <a:gd name="T73" fmla="*/ 89 h 838"/>
                <a:gd name="T74" fmla="*/ 411 w 948"/>
                <a:gd name="T75" fmla="*/ 212 h 838"/>
                <a:gd name="T76" fmla="*/ 309 w 948"/>
                <a:gd name="T77" fmla="*/ 298 h 838"/>
                <a:gd name="T78" fmla="*/ 296 w 948"/>
                <a:gd name="T79" fmla="*/ 314 h 838"/>
                <a:gd name="T80" fmla="*/ 235 w 948"/>
                <a:gd name="T81" fmla="*/ 317 h 838"/>
                <a:gd name="T82" fmla="*/ 209 w 948"/>
                <a:gd name="T83" fmla="*/ 160 h 838"/>
                <a:gd name="T84" fmla="*/ 251 w 948"/>
                <a:gd name="T85" fmla="*/ 128 h 838"/>
                <a:gd name="T86" fmla="*/ 175 w 948"/>
                <a:gd name="T87" fmla="*/ 209 h 838"/>
                <a:gd name="T88" fmla="*/ 191 w 948"/>
                <a:gd name="T89" fmla="*/ 356 h 838"/>
                <a:gd name="T90" fmla="*/ 191 w 948"/>
                <a:gd name="T91" fmla="*/ 487 h 838"/>
                <a:gd name="T92" fmla="*/ 199 w 948"/>
                <a:gd name="T93" fmla="*/ 495 h 838"/>
                <a:gd name="T94" fmla="*/ 178 w 948"/>
                <a:gd name="T95" fmla="*/ 620 h 838"/>
                <a:gd name="T96" fmla="*/ 175 w 948"/>
                <a:gd name="T97" fmla="*/ 209 h 838"/>
                <a:gd name="T98" fmla="*/ 696 w 948"/>
                <a:gd name="T99" fmla="*/ 707 h 838"/>
                <a:gd name="T100" fmla="*/ 474 w 948"/>
                <a:gd name="T101" fmla="*/ 780 h 838"/>
                <a:gd name="T102" fmla="*/ 241 w 948"/>
                <a:gd name="T103" fmla="*/ 696 h 838"/>
                <a:gd name="T104" fmla="*/ 264 w 948"/>
                <a:gd name="T105" fmla="*/ 531 h 838"/>
                <a:gd name="T106" fmla="*/ 317 w 948"/>
                <a:gd name="T107" fmla="*/ 524 h 838"/>
                <a:gd name="T108" fmla="*/ 348 w 948"/>
                <a:gd name="T109" fmla="*/ 547 h 838"/>
                <a:gd name="T110" fmla="*/ 453 w 948"/>
                <a:gd name="T111" fmla="*/ 615 h 838"/>
                <a:gd name="T112" fmla="*/ 468 w 948"/>
                <a:gd name="T113" fmla="*/ 665 h 838"/>
                <a:gd name="T114" fmla="*/ 571 w 948"/>
                <a:gd name="T115" fmla="*/ 678 h 838"/>
                <a:gd name="T116" fmla="*/ 586 w 948"/>
                <a:gd name="T117" fmla="*/ 660 h 838"/>
                <a:gd name="T118" fmla="*/ 728 w 948"/>
                <a:gd name="T119" fmla="*/ 675 h 838"/>
                <a:gd name="T120" fmla="*/ 696 w 948"/>
                <a:gd name="T121" fmla="*/ 70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8" h="838">
                  <a:moveTo>
                    <a:pt x="806" y="165"/>
                  </a:moveTo>
                  <a:cubicBezTo>
                    <a:pt x="725" y="58"/>
                    <a:pt x="597" y="0"/>
                    <a:pt x="474" y="0"/>
                  </a:cubicBezTo>
                  <a:cubicBezTo>
                    <a:pt x="382" y="0"/>
                    <a:pt x="293" y="26"/>
                    <a:pt x="220" y="86"/>
                  </a:cubicBezTo>
                  <a:cubicBezTo>
                    <a:pt x="36" y="228"/>
                    <a:pt x="0" y="490"/>
                    <a:pt x="141" y="673"/>
                  </a:cubicBezTo>
                  <a:cubicBezTo>
                    <a:pt x="225" y="780"/>
                    <a:pt x="351" y="838"/>
                    <a:pt x="474" y="838"/>
                  </a:cubicBezTo>
                  <a:cubicBezTo>
                    <a:pt x="565" y="838"/>
                    <a:pt x="654" y="812"/>
                    <a:pt x="728" y="751"/>
                  </a:cubicBezTo>
                  <a:cubicBezTo>
                    <a:pt x="911" y="610"/>
                    <a:pt x="948" y="346"/>
                    <a:pt x="806" y="165"/>
                  </a:cubicBezTo>
                  <a:close/>
                  <a:moveTo>
                    <a:pt x="827" y="510"/>
                  </a:moveTo>
                  <a:cubicBezTo>
                    <a:pt x="811" y="497"/>
                    <a:pt x="790" y="484"/>
                    <a:pt x="764" y="463"/>
                  </a:cubicBezTo>
                  <a:cubicBezTo>
                    <a:pt x="772" y="440"/>
                    <a:pt x="770" y="408"/>
                    <a:pt x="751" y="387"/>
                  </a:cubicBezTo>
                  <a:cubicBezTo>
                    <a:pt x="728" y="353"/>
                    <a:pt x="681" y="348"/>
                    <a:pt x="649" y="367"/>
                  </a:cubicBezTo>
                  <a:cubicBezTo>
                    <a:pt x="612" y="332"/>
                    <a:pt x="571" y="293"/>
                    <a:pt x="529" y="251"/>
                  </a:cubicBezTo>
                  <a:cubicBezTo>
                    <a:pt x="654" y="183"/>
                    <a:pt x="749" y="188"/>
                    <a:pt x="759" y="188"/>
                  </a:cubicBezTo>
                  <a:cubicBezTo>
                    <a:pt x="759" y="191"/>
                    <a:pt x="762" y="191"/>
                    <a:pt x="764" y="194"/>
                  </a:cubicBezTo>
                  <a:cubicBezTo>
                    <a:pt x="835" y="288"/>
                    <a:pt x="853" y="406"/>
                    <a:pt x="827" y="510"/>
                  </a:cubicBezTo>
                  <a:close/>
                  <a:moveTo>
                    <a:pt x="597" y="610"/>
                  </a:moveTo>
                  <a:cubicBezTo>
                    <a:pt x="594" y="602"/>
                    <a:pt x="591" y="589"/>
                    <a:pt x="584" y="581"/>
                  </a:cubicBezTo>
                  <a:cubicBezTo>
                    <a:pt x="560" y="552"/>
                    <a:pt x="518" y="545"/>
                    <a:pt x="487" y="563"/>
                  </a:cubicBezTo>
                  <a:cubicBezTo>
                    <a:pt x="453" y="545"/>
                    <a:pt x="421" y="524"/>
                    <a:pt x="387" y="497"/>
                  </a:cubicBezTo>
                  <a:cubicBezTo>
                    <a:pt x="382" y="492"/>
                    <a:pt x="374" y="484"/>
                    <a:pt x="366" y="479"/>
                  </a:cubicBezTo>
                  <a:cubicBezTo>
                    <a:pt x="387" y="445"/>
                    <a:pt x="390" y="403"/>
                    <a:pt x="369" y="369"/>
                  </a:cubicBezTo>
                  <a:cubicBezTo>
                    <a:pt x="372" y="367"/>
                    <a:pt x="377" y="361"/>
                    <a:pt x="382" y="356"/>
                  </a:cubicBezTo>
                  <a:cubicBezTo>
                    <a:pt x="416" y="322"/>
                    <a:pt x="447" y="298"/>
                    <a:pt x="479" y="277"/>
                  </a:cubicBezTo>
                  <a:cubicBezTo>
                    <a:pt x="523" y="319"/>
                    <a:pt x="573" y="359"/>
                    <a:pt x="620" y="395"/>
                  </a:cubicBezTo>
                  <a:cubicBezTo>
                    <a:pt x="607" y="421"/>
                    <a:pt x="612" y="453"/>
                    <a:pt x="628" y="476"/>
                  </a:cubicBezTo>
                  <a:cubicBezTo>
                    <a:pt x="654" y="513"/>
                    <a:pt x="704" y="518"/>
                    <a:pt x="741" y="492"/>
                  </a:cubicBezTo>
                  <a:cubicBezTo>
                    <a:pt x="743" y="492"/>
                    <a:pt x="743" y="490"/>
                    <a:pt x="746" y="490"/>
                  </a:cubicBezTo>
                  <a:cubicBezTo>
                    <a:pt x="780" y="513"/>
                    <a:pt x="806" y="531"/>
                    <a:pt x="819" y="539"/>
                  </a:cubicBezTo>
                  <a:cubicBezTo>
                    <a:pt x="811" y="565"/>
                    <a:pt x="796" y="594"/>
                    <a:pt x="777" y="620"/>
                  </a:cubicBezTo>
                  <a:cubicBezTo>
                    <a:pt x="751" y="628"/>
                    <a:pt x="688" y="636"/>
                    <a:pt x="597" y="610"/>
                  </a:cubicBezTo>
                  <a:close/>
                  <a:moveTo>
                    <a:pt x="709" y="139"/>
                  </a:moveTo>
                  <a:cubicBezTo>
                    <a:pt x="652" y="128"/>
                    <a:pt x="565" y="131"/>
                    <a:pt x="468" y="183"/>
                  </a:cubicBezTo>
                  <a:cubicBezTo>
                    <a:pt x="434" y="147"/>
                    <a:pt x="403" y="110"/>
                    <a:pt x="366" y="73"/>
                  </a:cubicBezTo>
                  <a:cubicBezTo>
                    <a:pt x="403" y="60"/>
                    <a:pt x="442" y="55"/>
                    <a:pt x="479" y="55"/>
                  </a:cubicBezTo>
                  <a:cubicBezTo>
                    <a:pt x="557" y="55"/>
                    <a:pt x="639" y="84"/>
                    <a:pt x="709" y="139"/>
                  </a:cubicBezTo>
                  <a:close/>
                  <a:moveTo>
                    <a:pt x="251" y="128"/>
                  </a:moveTo>
                  <a:cubicBezTo>
                    <a:pt x="269" y="113"/>
                    <a:pt x="290" y="102"/>
                    <a:pt x="311" y="89"/>
                  </a:cubicBezTo>
                  <a:cubicBezTo>
                    <a:pt x="338" y="131"/>
                    <a:pt x="372" y="173"/>
                    <a:pt x="411" y="212"/>
                  </a:cubicBezTo>
                  <a:cubicBezTo>
                    <a:pt x="377" y="236"/>
                    <a:pt x="345" y="262"/>
                    <a:pt x="309" y="298"/>
                  </a:cubicBezTo>
                  <a:cubicBezTo>
                    <a:pt x="306" y="304"/>
                    <a:pt x="301" y="306"/>
                    <a:pt x="296" y="314"/>
                  </a:cubicBezTo>
                  <a:cubicBezTo>
                    <a:pt x="275" y="312"/>
                    <a:pt x="256" y="312"/>
                    <a:pt x="235" y="317"/>
                  </a:cubicBezTo>
                  <a:cubicBezTo>
                    <a:pt x="201" y="249"/>
                    <a:pt x="204" y="191"/>
                    <a:pt x="209" y="160"/>
                  </a:cubicBezTo>
                  <a:cubicBezTo>
                    <a:pt x="225" y="149"/>
                    <a:pt x="235" y="141"/>
                    <a:pt x="251" y="128"/>
                  </a:cubicBezTo>
                  <a:close/>
                  <a:moveTo>
                    <a:pt x="175" y="209"/>
                  </a:moveTo>
                  <a:cubicBezTo>
                    <a:pt x="167" y="246"/>
                    <a:pt x="162" y="296"/>
                    <a:pt x="191" y="356"/>
                  </a:cubicBezTo>
                  <a:cubicBezTo>
                    <a:pt x="159" y="395"/>
                    <a:pt x="159" y="450"/>
                    <a:pt x="191" y="487"/>
                  </a:cubicBezTo>
                  <a:cubicBezTo>
                    <a:pt x="194" y="490"/>
                    <a:pt x="196" y="492"/>
                    <a:pt x="199" y="495"/>
                  </a:cubicBezTo>
                  <a:cubicBezTo>
                    <a:pt x="186" y="539"/>
                    <a:pt x="180" y="584"/>
                    <a:pt x="178" y="620"/>
                  </a:cubicBezTo>
                  <a:cubicBezTo>
                    <a:pt x="86" y="497"/>
                    <a:pt x="91" y="332"/>
                    <a:pt x="175" y="209"/>
                  </a:cubicBezTo>
                  <a:close/>
                  <a:moveTo>
                    <a:pt x="696" y="707"/>
                  </a:moveTo>
                  <a:cubicBezTo>
                    <a:pt x="631" y="757"/>
                    <a:pt x="552" y="780"/>
                    <a:pt x="474" y="780"/>
                  </a:cubicBezTo>
                  <a:cubicBezTo>
                    <a:pt x="390" y="780"/>
                    <a:pt x="309" y="751"/>
                    <a:pt x="241" y="696"/>
                  </a:cubicBezTo>
                  <a:cubicBezTo>
                    <a:pt x="238" y="657"/>
                    <a:pt x="241" y="594"/>
                    <a:pt x="264" y="531"/>
                  </a:cubicBezTo>
                  <a:cubicBezTo>
                    <a:pt x="283" y="531"/>
                    <a:pt x="298" y="531"/>
                    <a:pt x="317" y="524"/>
                  </a:cubicBezTo>
                  <a:cubicBezTo>
                    <a:pt x="324" y="531"/>
                    <a:pt x="335" y="542"/>
                    <a:pt x="348" y="547"/>
                  </a:cubicBezTo>
                  <a:cubicBezTo>
                    <a:pt x="385" y="573"/>
                    <a:pt x="421" y="597"/>
                    <a:pt x="453" y="615"/>
                  </a:cubicBezTo>
                  <a:cubicBezTo>
                    <a:pt x="450" y="634"/>
                    <a:pt x="455" y="652"/>
                    <a:pt x="468" y="665"/>
                  </a:cubicBezTo>
                  <a:cubicBezTo>
                    <a:pt x="492" y="699"/>
                    <a:pt x="539" y="704"/>
                    <a:pt x="571" y="678"/>
                  </a:cubicBezTo>
                  <a:cubicBezTo>
                    <a:pt x="576" y="673"/>
                    <a:pt x="584" y="665"/>
                    <a:pt x="586" y="660"/>
                  </a:cubicBezTo>
                  <a:cubicBezTo>
                    <a:pt x="644" y="673"/>
                    <a:pt x="691" y="675"/>
                    <a:pt x="728" y="675"/>
                  </a:cubicBezTo>
                  <a:cubicBezTo>
                    <a:pt x="715" y="689"/>
                    <a:pt x="709" y="696"/>
                    <a:pt x="696" y="7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nvGrpSpPr>
          <p:cNvPr id="1357" name="Group 1356"/>
          <p:cNvGrpSpPr/>
          <p:nvPr/>
        </p:nvGrpSpPr>
        <p:grpSpPr>
          <a:xfrm>
            <a:off x="1683377" y="1483002"/>
            <a:ext cx="1925364" cy="1404739"/>
            <a:chOff x="1682750" y="1882775"/>
            <a:chExt cx="1925638" cy="1404938"/>
          </a:xfrm>
        </p:grpSpPr>
        <p:sp>
          <p:nvSpPr>
            <p:cNvPr id="22" name="Freeform 19"/>
            <p:cNvSpPr>
              <a:spLocks/>
            </p:cNvSpPr>
            <p:nvPr/>
          </p:nvSpPr>
          <p:spPr bwMode="auto">
            <a:xfrm>
              <a:off x="1682750" y="1882775"/>
              <a:ext cx="1925638" cy="1404938"/>
            </a:xfrm>
            <a:custGeom>
              <a:avLst/>
              <a:gdLst>
                <a:gd name="T0" fmla="*/ 1551 w 1612"/>
                <a:gd name="T1" fmla="*/ 0 h 1175"/>
                <a:gd name="T2" fmla="*/ 61 w 1612"/>
                <a:gd name="T3" fmla="*/ 0 h 1175"/>
                <a:gd name="T4" fmla="*/ 0 w 1612"/>
                <a:gd name="T5" fmla="*/ 61 h 1175"/>
                <a:gd name="T6" fmla="*/ 0 w 1612"/>
                <a:gd name="T7" fmla="*/ 1114 h 1175"/>
                <a:gd name="T8" fmla="*/ 61 w 1612"/>
                <a:gd name="T9" fmla="*/ 1175 h 1175"/>
                <a:gd name="T10" fmla="*/ 1551 w 1612"/>
                <a:gd name="T11" fmla="*/ 1175 h 1175"/>
                <a:gd name="T12" fmla="*/ 1612 w 1612"/>
                <a:gd name="T13" fmla="*/ 1114 h 1175"/>
                <a:gd name="T14" fmla="*/ 1612 w 1612"/>
                <a:gd name="T15" fmla="*/ 61 h 1175"/>
                <a:gd name="T16" fmla="*/ 1551 w 1612"/>
                <a:gd name="T17" fmla="*/ 0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2" h="1175">
                  <a:moveTo>
                    <a:pt x="1551" y="0"/>
                  </a:moveTo>
                  <a:cubicBezTo>
                    <a:pt x="61" y="0"/>
                    <a:pt x="61" y="0"/>
                    <a:pt x="61" y="0"/>
                  </a:cubicBezTo>
                  <a:cubicBezTo>
                    <a:pt x="11" y="0"/>
                    <a:pt x="0" y="10"/>
                    <a:pt x="0" y="61"/>
                  </a:cubicBezTo>
                  <a:cubicBezTo>
                    <a:pt x="0" y="1114"/>
                    <a:pt x="0" y="1114"/>
                    <a:pt x="0" y="1114"/>
                  </a:cubicBezTo>
                  <a:cubicBezTo>
                    <a:pt x="0" y="1165"/>
                    <a:pt x="11" y="1175"/>
                    <a:pt x="61" y="1175"/>
                  </a:cubicBezTo>
                  <a:cubicBezTo>
                    <a:pt x="1551" y="1175"/>
                    <a:pt x="1551" y="1175"/>
                    <a:pt x="1551" y="1175"/>
                  </a:cubicBezTo>
                  <a:cubicBezTo>
                    <a:pt x="1602" y="1175"/>
                    <a:pt x="1612" y="1165"/>
                    <a:pt x="1612" y="1114"/>
                  </a:cubicBezTo>
                  <a:cubicBezTo>
                    <a:pt x="1612" y="61"/>
                    <a:pt x="1612" y="61"/>
                    <a:pt x="1612" y="61"/>
                  </a:cubicBezTo>
                  <a:cubicBezTo>
                    <a:pt x="1612" y="10"/>
                    <a:pt x="1602" y="0"/>
                    <a:pt x="1551" y="0"/>
                  </a:cubicBezTo>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 name="Rectangle 20"/>
            <p:cNvSpPr>
              <a:spLocks noChangeArrowheads="1"/>
            </p:cNvSpPr>
            <p:nvPr/>
          </p:nvSpPr>
          <p:spPr bwMode="auto">
            <a:xfrm>
              <a:off x="1728788" y="2041525"/>
              <a:ext cx="1833563" cy="118110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 name="Rectangle 21"/>
            <p:cNvSpPr>
              <a:spLocks noChangeArrowheads="1"/>
            </p:cNvSpPr>
            <p:nvPr/>
          </p:nvSpPr>
          <p:spPr bwMode="auto">
            <a:xfrm>
              <a:off x="1728788" y="2041525"/>
              <a:ext cx="1833563"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5" name="Freeform 22"/>
            <p:cNvSpPr>
              <a:spLocks/>
            </p:cNvSpPr>
            <p:nvPr/>
          </p:nvSpPr>
          <p:spPr bwMode="auto">
            <a:xfrm>
              <a:off x="1682750" y="1882775"/>
              <a:ext cx="1925638" cy="1404938"/>
            </a:xfrm>
            <a:custGeom>
              <a:avLst/>
              <a:gdLst>
                <a:gd name="T0" fmla="*/ 1551 w 1612"/>
                <a:gd name="T1" fmla="*/ 0 h 1175"/>
                <a:gd name="T2" fmla="*/ 61 w 1612"/>
                <a:gd name="T3" fmla="*/ 0 h 1175"/>
                <a:gd name="T4" fmla="*/ 0 w 1612"/>
                <a:gd name="T5" fmla="*/ 61 h 1175"/>
                <a:gd name="T6" fmla="*/ 0 w 1612"/>
                <a:gd name="T7" fmla="*/ 1114 h 1175"/>
                <a:gd name="T8" fmla="*/ 61 w 1612"/>
                <a:gd name="T9" fmla="*/ 1175 h 1175"/>
                <a:gd name="T10" fmla="*/ 1551 w 1612"/>
                <a:gd name="T11" fmla="*/ 1175 h 1175"/>
                <a:gd name="T12" fmla="*/ 1612 w 1612"/>
                <a:gd name="T13" fmla="*/ 1114 h 1175"/>
                <a:gd name="T14" fmla="*/ 1612 w 1612"/>
                <a:gd name="T15" fmla="*/ 61 h 1175"/>
                <a:gd name="T16" fmla="*/ 1551 w 1612"/>
                <a:gd name="T17" fmla="*/ 0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2" h="1175">
                  <a:moveTo>
                    <a:pt x="1551" y="0"/>
                  </a:moveTo>
                  <a:cubicBezTo>
                    <a:pt x="61" y="0"/>
                    <a:pt x="61" y="0"/>
                    <a:pt x="61" y="0"/>
                  </a:cubicBezTo>
                  <a:cubicBezTo>
                    <a:pt x="11" y="0"/>
                    <a:pt x="0" y="10"/>
                    <a:pt x="0" y="61"/>
                  </a:cubicBezTo>
                  <a:cubicBezTo>
                    <a:pt x="0" y="1114"/>
                    <a:pt x="0" y="1114"/>
                    <a:pt x="0" y="1114"/>
                  </a:cubicBezTo>
                  <a:cubicBezTo>
                    <a:pt x="0" y="1165"/>
                    <a:pt x="11" y="1175"/>
                    <a:pt x="61" y="1175"/>
                  </a:cubicBezTo>
                  <a:cubicBezTo>
                    <a:pt x="1551" y="1175"/>
                    <a:pt x="1551" y="1175"/>
                    <a:pt x="1551" y="1175"/>
                  </a:cubicBezTo>
                  <a:cubicBezTo>
                    <a:pt x="1602" y="1175"/>
                    <a:pt x="1612" y="1165"/>
                    <a:pt x="1612" y="1114"/>
                  </a:cubicBezTo>
                  <a:cubicBezTo>
                    <a:pt x="1612" y="61"/>
                    <a:pt x="1612" y="61"/>
                    <a:pt x="1612" y="61"/>
                  </a:cubicBezTo>
                  <a:cubicBezTo>
                    <a:pt x="1612" y="10"/>
                    <a:pt x="1602" y="0"/>
                    <a:pt x="1551" y="0"/>
                  </a:cubicBezTo>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6" name="Rectangle 23"/>
            <p:cNvSpPr>
              <a:spLocks noChangeArrowheads="1"/>
            </p:cNvSpPr>
            <p:nvPr/>
          </p:nvSpPr>
          <p:spPr bwMode="auto">
            <a:xfrm>
              <a:off x="1728788" y="2041525"/>
              <a:ext cx="1833563" cy="118110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7" name="Rectangle 24"/>
            <p:cNvSpPr>
              <a:spLocks noChangeArrowheads="1"/>
            </p:cNvSpPr>
            <p:nvPr/>
          </p:nvSpPr>
          <p:spPr bwMode="auto">
            <a:xfrm>
              <a:off x="1728788" y="2041525"/>
              <a:ext cx="1833563"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9" name="Freeform 25"/>
            <p:cNvSpPr>
              <a:spLocks/>
            </p:cNvSpPr>
            <p:nvPr/>
          </p:nvSpPr>
          <p:spPr bwMode="auto">
            <a:xfrm>
              <a:off x="2559050" y="2665413"/>
              <a:ext cx="161925" cy="109538"/>
            </a:xfrm>
            <a:custGeom>
              <a:avLst/>
              <a:gdLst>
                <a:gd name="T0" fmla="*/ 9 w 136"/>
                <a:gd name="T1" fmla="*/ 0 h 92"/>
                <a:gd name="T2" fmla="*/ 0 w 136"/>
                <a:gd name="T3" fmla="*/ 6 h 92"/>
                <a:gd name="T4" fmla="*/ 70 w 136"/>
                <a:gd name="T5" fmla="*/ 92 h 92"/>
                <a:gd name="T6" fmla="*/ 136 w 136"/>
                <a:gd name="T7" fmla="*/ 92 h 92"/>
                <a:gd name="T8" fmla="*/ 135 w 136"/>
                <a:gd name="T9" fmla="*/ 86 h 92"/>
                <a:gd name="T10" fmla="*/ 136 w 136"/>
                <a:gd name="T11" fmla="*/ 81 h 92"/>
                <a:gd name="T12" fmla="*/ 75 w 136"/>
                <a:gd name="T13" fmla="*/ 81 h 92"/>
                <a:gd name="T14" fmla="*/ 9 w 136"/>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92">
                  <a:moveTo>
                    <a:pt x="9" y="0"/>
                  </a:moveTo>
                  <a:cubicBezTo>
                    <a:pt x="6" y="2"/>
                    <a:pt x="3" y="4"/>
                    <a:pt x="0" y="6"/>
                  </a:cubicBezTo>
                  <a:cubicBezTo>
                    <a:pt x="70" y="92"/>
                    <a:pt x="70" y="92"/>
                    <a:pt x="70" y="92"/>
                  </a:cubicBezTo>
                  <a:cubicBezTo>
                    <a:pt x="136" y="92"/>
                    <a:pt x="136" y="92"/>
                    <a:pt x="136" y="92"/>
                  </a:cubicBezTo>
                  <a:cubicBezTo>
                    <a:pt x="136" y="90"/>
                    <a:pt x="135" y="88"/>
                    <a:pt x="135" y="86"/>
                  </a:cubicBezTo>
                  <a:cubicBezTo>
                    <a:pt x="135" y="84"/>
                    <a:pt x="136" y="83"/>
                    <a:pt x="136" y="81"/>
                  </a:cubicBezTo>
                  <a:cubicBezTo>
                    <a:pt x="75" y="81"/>
                    <a:pt x="75" y="81"/>
                    <a:pt x="75" y="81"/>
                  </a:cubicBezTo>
                  <a:cubicBezTo>
                    <a:pt x="9" y="0"/>
                    <a:pt x="9" y="0"/>
                    <a:pt x="9" y="0"/>
                  </a:cubicBezTo>
                </a:path>
              </a:pathLst>
            </a:custGeom>
            <a:solidFill>
              <a:srgbClr val="459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0" name="Freeform 26"/>
            <p:cNvSpPr>
              <a:spLocks/>
            </p:cNvSpPr>
            <p:nvPr/>
          </p:nvSpPr>
          <p:spPr bwMode="auto">
            <a:xfrm>
              <a:off x="2719388" y="2754313"/>
              <a:ext cx="28575" cy="28575"/>
            </a:xfrm>
            <a:custGeom>
              <a:avLst/>
              <a:gdLst>
                <a:gd name="T0" fmla="*/ 12 w 24"/>
                <a:gd name="T1" fmla="*/ 0 h 24"/>
                <a:gd name="T2" fmla="*/ 1 w 24"/>
                <a:gd name="T3" fmla="*/ 7 h 24"/>
                <a:gd name="T4" fmla="*/ 0 w 24"/>
                <a:gd name="T5" fmla="*/ 12 h 24"/>
                <a:gd name="T6" fmla="*/ 1 w 24"/>
                <a:gd name="T7" fmla="*/ 18 h 24"/>
                <a:gd name="T8" fmla="*/ 12 w 24"/>
                <a:gd name="T9" fmla="*/ 24 h 24"/>
                <a:gd name="T10" fmla="*/ 24 w 24"/>
                <a:gd name="T11" fmla="*/ 12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7" y="0"/>
                    <a:pt x="3" y="3"/>
                    <a:pt x="1" y="7"/>
                  </a:cubicBezTo>
                  <a:cubicBezTo>
                    <a:pt x="1" y="9"/>
                    <a:pt x="0" y="10"/>
                    <a:pt x="0" y="12"/>
                  </a:cubicBezTo>
                  <a:cubicBezTo>
                    <a:pt x="0" y="14"/>
                    <a:pt x="1" y="16"/>
                    <a:pt x="1" y="18"/>
                  </a:cubicBezTo>
                  <a:cubicBezTo>
                    <a:pt x="3" y="21"/>
                    <a:pt x="7" y="24"/>
                    <a:pt x="12" y="24"/>
                  </a:cubicBezTo>
                  <a:cubicBezTo>
                    <a:pt x="19" y="24"/>
                    <a:pt x="24" y="19"/>
                    <a:pt x="24" y="12"/>
                  </a:cubicBezTo>
                  <a:cubicBezTo>
                    <a:pt x="24" y="6"/>
                    <a:pt x="19" y="0"/>
                    <a:pt x="12" y="0"/>
                  </a:cubicBezTo>
                </a:path>
              </a:pathLst>
            </a:custGeom>
            <a:solidFill>
              <a:srgbClr val="459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1" name="Freeform 27"/>
            <p:cNvSpPr>
              <a:spLocks/>
            </p:cNvSpPr>
            <p:nvPr/>
          </p:nvSpPr>
          <p:spPr bwMode="auto">
            <a:xfrm>
              <a:off x="1979613" y="2609850"/>
              <a:ext cx="255588" cy="119063"/>
            </a:xfrm>
            <a:custGeom>
              <a:avLst/>
              <a:gdLst>
                <a:gd name="T0" fmla="*/ 209 w 215"/>
                <a:gd name="T1" fmla="*/ 0 h 100"/>
                <a:gd name="T2" fmla="*/ 81 w 215"/>
                <a:gd name="T3" fmla="*/ 0 h 100"/>
                <a:gd name="T4" fmla="*/ 0 w 215"/>
                <a:gd name="T5" fmla="*/ 93 h 100"/>
                <a:gd name="T6" fmla="*/ 4 w 215"/>
                <a:gd name="T7" fmla="*/ 96 h 100"/>
                <a:gd name="T8" fmla="*/ 8 w 215"/>
                <a:gd name="T9" fmla="*/ 100 h 100"/>
                <a:gd name="T10" fmla="*/ 86 w 215"/>
                <a:gd name="T11" fmla="*/ 11 h 100"/>
                <a:gd name="T12" fmla="*/ 215 w 215"/>
                <a:gd name="T13" fmla="*/ 11 h 100"/>
                <a:gd name="T14" fmla="*/ 209 w 215"/>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00">
                  <a:moveTo>
                    <a:pt x="209" y="0"/>
                  </a:moveTo>
                  <a:cubicBezTo>
                    <a:pt x="81" y="0"/>
                    <a:pt x="81" y="0"/>
                    <a:pt x="81" y="0"/>
                  </a:cubicBezTo>
                  <a:cubicBezTo>
                    <a:pt x="0" y="93"/>
                    <a:pt x="0" y="93"/>
                    <a:pt x="0" y="93"/>
                  </a:cubicBezTo>
                  <a:cubicBezTo>
                    <a:pt x="1" y="94"/>
                    <a:pt x="3" y="95"/>
                    <a:pt x="4" y="96"/>
                  </a:cubicBezTo>
                  <a:cubicBezTo>
                    <a:pt x="6" y="97"/>
                    <a:pt x="7" y="99"/>
                    <a:pt x="8" y="100"/>
                  </a:cubicBezTo>
                  <a:cubicBezTo>
                    <a:pt x="86" y="11"/>
                    <a:pt x="86" y="11"/>
                    <a:pt x="86" y="11"/>
                  </a:cubicBezTo>
                  <a:cubicBezTo>
                    <a:pt x="215" y="11"/>
                    <a:pt x="215" y="11"/>
                    <a:pt x="215" y="11"/>
                  </a:cubicBezTo>
                  <a:cubicBezTo>
                    <a:pt x="213" y="7"/>
                    <a:pt x="211" y="4"/>
                    <a:pt x="209"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4" name="Freeform 28"/>
            <p:cNvSpPr>
              <a:spLocks/>
            </p:cNvSpPr>
            <p:nvPr/>
          </p:nvSpPr>
          <p:spPr bwMode="auto">
            <a:xfrm>
              <a:off x="1958975" y="2720975"/>
              <a:ext cx="30163" cy="28575"/>
            </a:xfrm>
            <a:custGeom>
              <a:avLst/>
              <a:gdLst>
                <a:gd name="T0" fmla="*/ 13 w 26"/>
                <a:gd name="T1" fmla="*/ 0 h 24"/>
                <a:gd name="T2" fmla="*/ 5 w 26"/>
                <a:gd name="T3" fmla="*/ 4 h 24"/>
                <a:gd name="T4" fmla="*/ 6 w 26"/>
                <a:gd name="T5" fmla="*/ 21 h 24"/>
                <a:gd name="T6" fmla="*/ 13 w 26"/>
                <a:gd name="T7" fmla="*/ 24 h 24"/>
                <a:gd name="T8" fmla="*/ 22 w 26"/>
                <a:gd name="T9" fmla="*/ 20 h 24"/>
                <a:gd name="T10" fmla="*/ 25 w 26"/>
                <a:gd name="T11" fmla="*/ 7 h 24"/>
                <a:gd name="T12" fmla="*/ 21 w 26"/>
                <a:gd name="T13" fmla="*/ 3 h 24"/>
                <a:gd name="T14" fmla="*/ 17 w 26"/>
                <a:gd name="T15" fmla="*/ 0 h 24"/>
                <a:gd name="T16" fmla="*/ 13 w 2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4">
                  <a:moveTo>
                    <a:pt x="13" y="0"/>
                  </a:moveTo>
                  <a:cubicBezTo>
                    <a:pt x="10" y="0"/>
                    <a:pt x="7" y="1"/>
                    <a:pt x="5" y="4"/>
                  </a:cubicBezTo>
                  <a:cubicBezTo>
                    <a:pt x="0" y="9"/>
                    <a:pt x="1" y="16"/>
                    <a:pt x="6" y="21"/>
                  </a:cubicBezTo>
                  <a:cubicBezTo>
                    <a:pt x="8" y="23"/>
                    <a:pt x="11" y="24"/>
                    <a:pt x="13" y="24"/>
                  </a:cubicBezTo>
                  <a:cubicBezTo>
                    <a:pt x="17" y="24"/>
                    <a:pt x="20" y="22"/>
                    <a:pt x="22" y="20"/>
                  </a:cubicBezTo>
                  <a:cubicBezTo>
                    <a:pt x="26" y="16"/>
                    <a:pt x="26" y="11"/>
                    <a:pt x="25" y="7"/>
                  </a:cubicBezTo>
                  <a:cubicBezTo>
                    <a:pt x="24" y="6"/>
                    <a:pt x="23" y="4"/>
                    <a:pt x="21" y="3"/>
                  </a:cubicBezTo>
                  <a:cubicBezTo>
                    <a:pt x="20" y="2"/>
                    <a:pt x="18" y="1"/>
                    <a:pt x="17" y="0"/>
                  </a:cubicBezTo>
                  <a:cubicBezTo>
                    <a:pt x="16" y="0"/>
                    <a:pt x="15" y="0"/>
                    <a:pt x="13"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5" name="Freeform 29"/>
            <p:cNvSpPr>
              <a:spLocks/>
            </p:cNvSpPr>
            <p:nvPr/>
          </p:nvSpPr>
          <p:spPr bwMode="auto">
            <a:xfrm>
              <a:off x="2659063" y="2338388"/>
              <a:ext cx="217488" cy="141288"/>
            </a:xfrm>
            <a:custGeom>
              <a:avLst/>
              <a:gdLst>
                <a:gd name="T0" fmla="*/ 175 w 182"/>
                <a:gd name="T1" fmla="*/ 0 h 118"/>
                <a:gd name="T2" fmla="*/ 69 w 182"/>
                <a:gd name="T3" fmla="*/ 107 h 118"/>
                <a:gd name="T4" fmla="*/ 0 w 182"/>
                <a:gd name="T5" fmla="*/ 107 h 118"/>
                <a:gd name="T6" fmla="*/ 2 w 182"/>
                <a:gd name="T7" fmla="*/ 118 h 118"/>
                <a:gd name="T8" fmla="*/ 73 w 182"/>
                <a:gd name="T9" fmla="*/ 118 h 118"/>
                <a:gd name="T10" fmla="*/ 182 w 182"/>
                <a:gd name="T11" fmla="*/ 7 h 118"/>
                <a:gd name="T12" fmla="*/ 178 w 182"/>
                <a:gd name="T13" fmla="*/ 5 h 118"/>
                <a:gd name="T14" fmla="*/ 175 w 182"/>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18">
                  <a:moveTo>
                    <a:pt x="175" y="0"/>
                  </a:moveTo>
                  <a:cubicBezTo>
                    <a:pt x="69" y="107"/>
                    <a:pt x="69" y="107"/>
                    <a:pt x="69" y="107"/>
                  </a:cubicBezTo>
                  <a:cubicBezTo>
                    <a:pt x="0" y="107"/>
                    <a:pt x="0" y="107"/>
                    <a:pt x="0" y="107"/>
                  </a:cubicBezTo>
                  <a:cubicBezTo>
                    <a:pt x="1" y="111"/>
                    <a:pt x="2" y="114"/>
                    <a:pt x="2" y="118"/>
                  </a:cubicBezTo>
                  <a:cubicBezTo>
                    <a:pt x="73" y="118"/>
                    <a:pt x="73" y="118"/>
                    <a:pt x="73" y="118"/>
                  </a:cubicBezTo>
                  <a:cubicBezTo>
                    <a:pt x="182" y="7"/>
                    <a:pt x="182" y="7"/>
                    <a:pt x="182" y="7"/>
                  </a:cubicBezTo>
                  <a:cubicBezTo>
                    <a:pt x="181" y="7"/>
                    <a:pt x="179" y="6"/>
                    <a:pt x="178" y="5"/>
                  </a:cubicBezTo>
                  <a:cubicBezTo>
                    <a:pt x="176" y="3"/>
                    <a:pt x="175" y="2"/>
                    <a:pt x="175"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6" name="Freeform 30"/>
            <p:cNvSpPr>
              <a:spLocks/>
            </p:cNvSpPr>
            <p:nvPr/>
          </p:nvSpPr>
          <p:spPr bwMode="auto">
            <a:xfrm>
              <a:off x="2865438" y="2319338"/>
              <a:ext cx="31750" cy="28575"/>
            </a:xfrm>
            <a:custGeom>
              <a:avLst/>
              <a:gdLst>
                <a:gd name="T0" fmla="*/ 13 w 26"/>
                <a:gd name="T1" fmla="*/ 0 h 24"/>
                <a:gd name="T2" fmla="*/ 5 w 26"/>
                <a:gd name="T3" fmla="*/ 4 h 24"/>
                <a:gd name="T4" fmla="*/ 2 w 26"/>
                <a:gd name="T5" fmla="*/ 16 h 24"/>
                <a:gd name="T6" fmla="*/ 5 w 26"/>
                <a:gd name="T7" fmla="*/ 21 h 24"/>
                <a:gd name="T8" fmla="*/ 9 w 26"/>
                <a:gd name="T9" fmla="*/ 23 h 24"/>
                <a:gd name="T10" fmla="*/ 13 w 26"/>
                <a:gd name="T11" fmla="*/ 24 h 24"/>
                <a:gd name="T12" fmla="*/ 22 w 26"/>
                <a:gd name="T13" fmla="*/ 21 h 24"/>
                <a:gd name="T14" fmla="*/ 22 w 26"/>
                <a:gd name="T15" fmla="*/ 4 h 24"/>
                <a:gd name="T16" fmla="*/ 13 w 2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4">
                  <a:moveTo>
                    <a:pt x="13" y="0"/>
                  </a:moveTo>
                  <a:cubicBezTo>
                    <a:pt x="10" y="0"/>
                    <a:pt x="7" y="1"/>
                    <a:pt x="5" y="4"/>
                  </a:cubicBezTo>
                  <a:cubicBezTo>
                    <a:pt x="1" y="7"/>
                    <a:pt x="0" y="12"/>
                    <a:pt x="2" y="16"/>
                  </a:cubicBezTo>
                  <a:cubicBezTo>
                    <a:pt x="2" y="18"/>
                    <a:pt x="3" y="19"/>
                    <a:pt x="5" y="21"/>
                  </a:cubicBezTo>
                  <a:cubicBezTo>
                    <a:pt x="6" y="22"/>
                    <a:pt x="8" y="23"/>
                    <a:pt x="9" y="23"/>
                  </a:cubicBezTo>
                  <a:cubicBezTo>
                    <a:pt x="11" y="24"/>
                    <a:pt x="12" y="24"/>
                    <a:pt x="13" y="24"/>
                  </a:cubicBezTo>
                  <a:cubicBezTo>
                    <a:pt x="16" y="24"/>
                    <a:pt x="19" y="23"/>
                    <a:pt x="22" y="21"/>
                  </a:cubicBezTo>
                  <a:cubicBezTo>
                    <a:pt x="26" y="16"/>
                    <a:pt x="26" y="8"/>
                    <a:pt x="22" y="4"/>
                  </a:cubicBezTo>
                  <a:cubicBezTo>
                    <a:pt x="19" y="1"/>
                    <a:pt x="16" y="0"/>
                    <a:pt x="13"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7" name="Freeform 31"/>
            <p:cNvSpPr>
              <a:spLocks noEditPoints="1"/>
            </p:cNvSpPr>
            <p:nvPr/>
          </p:nvSpPr>
          <p:spPr bwMode="auto">
            <a:xfrm>
              <a:off x="2219325" y="2301875"/>
              <a:ext cx="430213" cy="414338"/>
            </a:xfrm>
            <a:custGeom>
              <a:avLst/>
              <a:gdLst>
                <a:gd name="T0" fmla="*/ 180 w 360"/>
                <a:gd name="T1" fmla="*/ 347 h 347"/>
                <a:gd name="T2" fmla="*/ 63 w 360"/>
                <a:gd name="T3" fmla="*/ 301 h 347"/>
                <a:gd name="T4" fmla="*/ 7 w 360"/>
                <a:gd name="T5" fmla="*/ 187 h 347"/>
                <a:gd name="T6" fmla="*/ 166 w 360"/>
                <a:gd name="T7" fmla="*/ 1 h 347"/>
                <a:gd name="T8" fmla="*/ 180 w 360"/>
                <a:gd name="T9" fmla="*/ 0 h 347"/>
                <a:gd name="T10" fmla="*/ 297 w 360"/>
                <a:gd name="T11" fmla="*/ 46 h 347"/>
                <a:gd name="T12" fmla="*/ 353 w 360"/>
                <a:gd name="T13" fmla="*/ 159 h 347"/>
                <a:gd name="T14" fmla="*/ 194 w 360"/>
                <a:gd name="T15" fmla="*/ 346 h 347"/>
                <a:gd name="T16" fmla="*/ 180 w 360"/>
                <a:gd name="T17" fmla="*/ 347 h 347"/>
                <a:gd name="T18" fmla="*/ 180 w 360"/>
                <a:gd name="T19" fmla="*/ 62 h 347"/>
                <a:gd name="T20" fmla="*/ 171 w 360"/>
                <a:gd name="T21" fmla="*/ 62 h 347"/>
                <a:gd name="T22" fmla="*/ 69 w 360"/>
                <a:gd name="T23" fmla="*/ 182 h 347"/>
                <a:gd name="T24" fmla="*/ 180 w 360"/>
                <a:gd name="T25" fmla="*/ 285 h 347"/>
                <a:gd name="T26" fmla="*/ 189 w 360"/>
                <a:gd name="T27" fmla="*/ 284 h 347"/>
                <a:gd name="T28" fmla="*/ 291 w 360"/>
                <a:gd name="T29" fmla="*/ 164 h 347"/>
                <a:gd name="T30" fmla="*/ 180 w 360"/>
                <a:gd name="T31" fmla="*/ 6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47">
                  <a:moveTo>
                    <a:pt x="180" y="347"/>
                  </a:moveTo>
                  <a:cubicBezTo>
                    <a:pt x="136" y="347"/>
                    <a:pt x="95" y="330"/>
                    <a:pt x="63" y="301"/>
                  </a:cubicBezTo>
                  <a:cubicBezTo>
                    <a:pt x="31" y="271"/>
                    <a:pt x="11" y="231"/>
                    <a:pt x="7" y="187"/>
                  </a:cubicBezTo>
                  <a:cubicBezTo>
                    <a:pt x="0" y="92"/>
                    <a:pt x="71" y="9"/>
                    <a:pt x="166" y="1"/>
                  </a:cubicBezTo>
                  <a:cubicBezTo>
                    <a:pt x="171" y="0"/>
                    <a:pt x="175" y="0"/>
                    <a:pt x="180" y="0"/>
                  </a:cubicBezTo>
                  <a:cubicBezTo>
                    <a:pt x="223" y="0"/>
                    <a:pt x="265" y="16"/>
                    <a:pt x="297" y="46"/>
                  </a:cubicBezTo>
                  <a:cubicBezTo>
                    <a:pt x="329" y="75"/>
                    <a:pt x="349" y="116"/>
                    <a:pt x="353" y="159"/>
                  </a:cubicBezTo>
                  <a:cubicBezTo>
                    <a:pt x="360" y="255"/>
                    <a:pt x="289" y="338"/>
                    <a:pt x="194" y="346"/>
                  </a:cubicBezTo>
                  <a:cubicBezTo>
                    <a:pt x="189" y="346"/>
                    <a:pt x="184" y="347"/>
                    <a:pt x="180" y="347"/>
                  </a:cubicBezTo>
                  <a:moveTo>
                    <a:pt x="180" y="62"/>
                  </a:moveTo>
                  <a:cubicBezTo>
                    <a:pt x="177" y="62"/>
                    <a:pt x="174" y="62"/>
                    <a:pt x="171" y="62"/>
                  </a:cubicBezTo>
                  <a:cubicBezTo>
                    <a:pt x="110" y="67"/>
                    <a:pt x="64" y="121"/>
                    <a:pt x="69" y="182"/>
                  </a:cubicBezTo>
                  <a:cubicBezTo>
                    <a:pt x="74" y="240"/>
                    <a:pt x="122" y="285"/>
                    <a:pt x="180" y="285"/>
                  </a:cubicBezTo>
                  <a:cubicBezTo>
                    <a:pt x="183" y="285"/>
                    <a:pt x="186" y="285"/>
                    <a:pt x="189" y="284"/>
                  </a:cubicBezTo>
                  <a:cubicBezTo>
                    <a:pt x="250" y="280"/>
                    <a:pt x="296" y="226"/>
                    <a:pt x="291" y="164"/>
                  </a:cubicBezTo>
                  <a:cubicBezTo>
                    <a:pt x="286" y="107"/>
                    <a:pt x="238" y="62"/>
                    <a:pt x="18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 name="Freeform 32"/>
            <p:cNvSpPr>
              <a:spLocks noEditPoints="1"/>
            </p:cNvSpPr>
            <p:nvPr/>
          </p:nvSpPr>
          <p:spPr bwMode="auto">
            <a:xfrm>
              <a:off x="2206625" y="2520950"/>
              <a:ext cx="196850" cy="206375"/>
            </a:xfrm>
            <a:custGeom>
              <a:avLst/>
              <a:gdLst>
                <a:gd name="T0" fmla="*/ 46 w 165"/>
                <a:gd name="T1" fmla="*/ 85 h 173"/>
                <a:gd name="T2" fmla="*/ 25 w 165"/>
                <a:gd name="T3" fmla="*/ 85 h 173"/>
                <a:gd name="T4" fmla="*/ 137 w 165"/>
                <a:gd name="T5" fmla="*/ 173 h 173"/>
                <a:gd name="T6" fmla="*/ 142 w 165"/>
                <a:gd name="T7" fmla="*/ 156 h 173"/>
                <a:gd name="T8" fmla="*/ 74 w 165"/>
                <a:gd name="T9" fmla="*/ 117 h 173"/>
                <a:gd name="T10" fmla="*/ 46 w 165"/>
                <a:gd name="T11" fmla="*/ 85 h 173"/>
                <a:gd name="T12" fmla="*/ 19 w 165"/>
                <a:gd name="T13" fmla="*/ 9 h 173"/>
                <a:gd name="T14" fmla="*/ 0 w 165"/>
                <a:gd name="T15" fmla="*/ 11 h 173"/>
                <a:gd name="T16" fmla="*/ 19 w 165"/>
                <a:gd name="T17" fmla="*/ 74 h 173"/>
                <a:gd name="T18" fmla="*/ 40 w 165"/>
                <a:gd name="T19" fmla="*/ 74 h 173"/>
                <a:gd name="T20" fmla="*/ 19 w 165"/>
                <a:gd name="T21" fmla="*/ 9 h 173"/>
                <a:gd name="T22" fmla="*/ 99 w 165"/>
                <a:gd name="T23" fmla="*/ 0 h 173"/>
                <a:gd name="T24" fmla="*/ 80 w 165"/>
                <a:gd name="T25" fmla="*/ 2 h 173"/>
                <a:gd name="T26" fmla="*/ 160 w 165"/>
                <a:gd name="T27" fmla="*/ 96 h 173"/>
                <a:gd name="T28" fmla="*/ 165 w 165"/>
                <a:gd name="T29" fmla="*/ 79 h 173"/>
                <a:gd name="T30" fmla="*/ 99 w 165"/>
                <a:gd name="T3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173">
                  <a:moveTo>
                    <a:pt x="46" y="85"/>
                  </a:moveTo>
                  <a:cubicBezTo>
                    <a:pt x="25" y="85"/>
                    <a:pt x="25" y="85"/>
                    <a:pt x="25" y="85"/>
                  </a:cubicBezTo>
                  <a:cubicBezTo>
                    <a:pt x="49" y="127"/>
                    <a:pt x="88" y="159"/>
                    <a:pt x="137" y="173"/>
                  </a:cubicBezTo>
                  <a:cubicBezTo>
                    <a:pt x="142" y="156"/>
                    <a:pt x="142" y="156"/>
                    <a:pt x="142" y="156"/>
                  </a:cubicBezTo>
                  <a:cubicBezTo>
                    <a:pt x="117" y="148"/>
                    <a:pt x="94" y="135"/>
                    <a:pt x="74" y="117"/>
                  </a:cubicBezTo>
                  <a:cubicBezTo>
                    <a:pt x="63" y="107"/>
                    <a:pt x="54" y="97"/>
                    <a:pt x="46" y="85"/>
                  </a:cubicBezTo>
                  <a:moveTo>
                    <a:pt x="19" y="9"/>
                  </a:moveTo>
                  <a:cubicBezTo>
                    <a:pt x="0" y="11"/>
                    <a:pt x="0" y="11"/>
                    <a:pt x="0" y="11"/>
                  </a:cubicBezTo>
                  <a:cubicBezTo>
                    <a:pt x="3" y="34"/>
                    <a:pt x="9" y="55"/>
                    <a:pt x="19" y="74"/>
                  </a:cubicBezTo>
                  <a:cubicBezTo>
                    <a:pt x="40" y="74"/>
                    <a:pt x="40" y="74"/>
                    <a:pt x="40" y="74"/>
                  </a:cubicBezTo>
                  <a:cubicBezTo>
                    <a:pt x="29" y="54"/>
                    <a:pt x="21" y="32"/>
                    <a:pt x="19" y="9"/>
                  </a:cubicBezTo>
                  <a:moveTo>
                    <a:pt x="99" y="0"/>
                  </a:moveTo>
                  <a:cubicBezTo>
                    <a:pt x="80" y="2"/>
                    <a:pt x="80" y="2"/>
                    <a:pt x="80" y="2"/>
                  </a:cubicBezTo>
                  <a:cubicBezTo>
                    <a:pt x="85" y="47"/>
                    <a:pt x="118" y="84"/>
                    <a:pt x="160" y="96"/>
                  </a:cubicBezTo>
                  <a:cubicBezTo>
                    <a:pt x="165" y="79"/>
                    <a:pt x="165" y="79"/>
                    <a:pt x="165" y="79"/>
                  </a:cubicBezTo>
                  <a:cubicBezTo>
                    <a:pt x="129" y="68"/>
                    <a:pt x="103" y="37"/>
                    <a:pt x="99" y="0"/>
                  </a:cubicBezTo>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 name="Freeform 33"/>
            <p:cNvSpPr>
              <a:spLocks/>
            </p:cNvSpPr>
            <p:nvPr/>
          </p:nvSpPr>
          <p:spPr bwMode="auto">
            <a:xfrm>
              <a:off x="2228850" y="2609850"/>
              <a:ext cx="31750" cy="12700"/>
            </a:xfrm>
            <a:custGeom>
              <a:avLst/>
              <a:gdLst>
                <a:gd name="T0" fmla="*/ 21 w 27"/>
                <a:gd name="T1" fmla="*/ 0 h 11"/>
                <a:gd name="T2" fmla="*/ 0 w 27"/>
                <a:gd name="T3" fmla="*/ 0 h 11"/>
                <a:gd name="T4" fmla="*/ 6 w 27"/>
                <a:gd name="T5" fmla="*/ 11 h 11"/>
                <a:gd name="T6" fmla="*/ 27 w 27"/>
                <a:gd name="T7" fmla="*/ 11 h 11"/>
                <a:gd name="T8" fmla="*/ 21 w 27"/>
                <a:gd name="T9" fmla="*/ 0 h 11"/>
              </a:gdLst>
              <a:ahLst/>
              <a:cxnLst>
                <a:cxn ang="0">
                  <a:pos x="T0" y="T1"/>
                </a:cxn>
                <a:cxn ang="0">
                  <a:pos x="T2" y="T3"/>
                </a:cxn>
                <a:cxn ang="0">
                  <a:pos x="T4" y="T5"/>
                </a:cxn>
                <a:cxn ang="0">
                  <a:pos x="T6" y="T7"/>
                </a:cxn>
                <a:cxn ang="0">
                  <a:pos x="T8" y="T9"/>
                </a:cxn>
              </a:cxnLst>
              <a:rect l="0" t="0" r="r" b="b"/>
              <a:pathLst>
                <a:path w="27" h="11">
                  <a:moveTo>
                    <a:pt x="21" y="0"/>
                  </a:moveTo>
                  <a:cubicBezTo>
                    <a:pt x="0" y="0"/>
                    <a:pt x="0" y="0"/>
                    <a:pt x="0" y="0"/>
                  </a:cubicBezTo>
                  <a:cubicBezTo>
                    <a:pt x="2" y="4"/>
                    <a:pt x="4" y="7"/>
                    <a:pt x="6" y="11"/>
                  </a:cubicBezTo>
                  <a:cubicBezTo>
                    <a:pt x="27" y="11"/>
                    <a:pt x="27" y="11"/>
                    <a:pt x="27" y="11"/>
                  </a:cubicBezTo>
                  <a:cubicBezTo>
                    <a:pt x="25" y="7"/>
                    <a:pt x="23" y="4"/>
                    <a:pt x="21" y="0"/>
                  </a:cubicBezTo>
                </a:path>
              </a:pathLst>
            </a:custGeom>
            <a:solidFill>
              <a:srgbClr val="419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0" name="Freeform 34"/>
            <p:cNvSpPr>
              <a:spLocks/>
            </p:cNvSpPr>
            <p:nvPr/>
          </p:nvSpPr>
          <p:spPr bwMode="auto">
            <a:xfrm>
              <a:off x="2228850" y="2524125"/>
              <a:ext cx="168275" cy="184150"/>
            </a:xfrm>
            <a:custGeom>
              <a:avLst/>
              <a:gdLst>
                <a:gd name="T0" fmla="*/ 61 w 141"/>
                <a:gd name="T1" fmla="*/ 0 h 154"/>
                <a:gd name="T2" fmla="*/ 0 w 141"/>
                <a:gd name="T3" fmla="*/ 7 h 154"/>
                <a:gd name="T4" fmla="*/ 21 w 141"/>
                <a:gd name="T5" fmla="*/ 72 h 154"/>
                <a:gd name="T6" fmla="*/ 27 w 141"/>
                <a:gd name="T7" fmla="*/ 83 h 154"/>
                <a:gd name="T8" fmla="*/ 55 w 141"/>
                <a:gd name="T9" fmla="*/ 115 h 154"/>
                <a:gd name="T10" fmla="*/ 123 w 141"/>
                <a:gd name="T11" fmla="*/ 154 h 154"/>
                <a:gd name="T12" fmla="*/ 141 w 141"/>
                <a:gd name="T13" fmla="*/ 94 h 154"/>
                <a:gd name="T14" fmla="*/ 61 w 141"/>
                <a:gd name="T15" fmla="*/ 0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154">
                  <a:moveTo>
                    <a:pt x="61" y="0"/>
                  </a:moveTo>
                  <a:cubicBezTo>
                    <a:pt x="0" y="7"/>
                    <a:pt x="0" y="7"/>
                    <a:pt x="0" y="7"/>
                  </a:cubicBezTo>
                  <a:cubicBezTo>
                    <a:pt x="2" y="30"/>
                    <a:pt x="10" y="52"/>
                    <a:pt x="21" y="72"/>
                  </a:cubicBezTo>
                  <a:cubicBezTo>
                    <a:pt x="23" y="76"/>
                    <a:pt x="25" y="79"/>
                    <a:pt x="27" y="83"/>
                  </a:cubicBezTo>
                  <a:cubicBezTo>
                    <a:pt x="35" y="95"/>
                    <a:pt x="44" y="105"/>
                    <a:pt x="55" y="115"/>
                  </a:cubicBezTo>
                  <a:cubicBezTo>
                    <a:pt x="75" y="133"/>
                    <a:pt x="98" y="146"/>
                    <a:pt x="123" y="154"/>
                  </a:cubicBezTo>
                  <a:cubicBezTo>
                    <a:pt x="141" y="94"/>
                    <a:pt x="141" y="94"/>
                    <a:pt x="141" y="94"/>
                  </a:cubicBezTo>
                  <a:cubicBezTo>
                    <a:pt x="99" y="82"/>
                    <a:pt x="66" y="45"/>
                    <a:pt x="61" y="0"/>
                  </a:cubicBezTo>
                </a:path>
              </a:pathLst>
            </a:custGeom>
            <a:solidFill>
              <a:srgbClr val="9ED3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1" name="Freeform 35"/>
            <p:cNvSpPr>
              <a:spLocks noEditPoints="1"/>
            </p:cNvSpPr>
            <p:nvPr/>
          </p:nvSpPr>
          <p:spPr bwMode="auto">
            <a:xfrm>
              <a:off x="2351088" y="2279650"/>
              <a:ext cx="169863" cy="125413"/>
            </a:xfrm>
            <a:custGeom>
              <a:avLst/>
              <a:gdLst>
                <a:gd name="T0" fmla="*/ 70 w 142"/>
                <a:gd name="T1" fmla="*/ 80 h 105"/>
                <a:gd name="T2" fmla="*/ 61 w 142"/>
                <a:gd name="T3" fmla="*/ 80 h 105"/>
                <a:gd name="T4" fmla="*/ 29 w 142"/>
                <a:gd name="T5" fmla="*/ 88 h 105"/>
                <a:gd name="T6" fmla="*/ 36 w 142"/>
                <a:gd name="T7" fmla="*/ 105 h 105"/>
                <a:gd name="T8" fmla="*/ 70 w 142"/>
                <a:gd name="T9" fmla="*/ 99 h 105"/>
                <a:gd name="T10" fmla="*/ 105 w 142"/>
                <a:gd name="T11" fmla="*/ 105 h 105"/>
                <a:gd name="T12" fmla="*/ 112 w 142"/>
                <a:gd name="T13" fmla="*/ 88 h 105"/>
                <a:gd name="T14" fmla="*/ 70 w 142"/>
                <a:gd name="T15" fmla="*/ 80 h 105"/>
                <a:gd name="T16" fmla="*/ 70 w 142"/>
                <a:gd name="T17" fmla="*/ 0 h 105"/>
                <a:gd name="T18" fmla="*/ 0 w 142"/>
                <a:gd name="T19" fmla="*/ 13 h 105"/>
                <a:gd name="T20" fmla="*/ 7 w 142"/>
                <a:gd name="T21" fmla="*/ 30 h 105"/>
                <a:gd name="T22" fmla="*/ 56 w 142"/>
                <a:gd name="T23" fmla="*/ 19 h 105"/>
                <a:gd name="T24" fmla="*/ 70 w 142"/>
                <a:gd name="T25" fmla="*/ 18 h 105"/>
                <a:gd name="T26" fmla="*/ 135 w 142"/>
                <a:gd name="T27" fmla="*/ 31 h 105"/>
                <a:gd name="T28" fmla="*/ 142 w 142"/>
                <a:gd name="T29" fmla="*/ 14 h 105"/>
                <a:gd name="T30" fmla="*/ 70 w 142"/>
                <a:gd name="T3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05">
                  <a:moveTo>
                    <a:pt x="70" y="80"/>
                  </a:moveTo>
                  <a:cubicBezTo>
                    <a:pt x="67" y="80"/>
                    <a:pt x="64" y="80"/>
                    <a:pt x="61" y="80"/>
                  </a:cubicBezTo>
                  <a:cubicBezTo>
                    <a:pt x="50" y="81"/>
                    <a:pt x="39" y="84"/>
                    <a:pt x="29" y="88"/>
                  </a:cubicBezTo>
                  <a:cubicBezTo>
                    <a:pt x="36" y="105"/>
                    <a:pt x="36" y="105"/>
                    <a:pt x="36" y="105"/>
                  </a:cubicBezTo>
                  <a:cubicBezTo>
                    <a:pt x="47" y="101"/>
                    <a:pt x="58" y="99"/>
                    <a:pt x="70" y="99"/>
                  </a:cubicBezTo>
                  <a:cubicBezTo>
                    <a:pt x="82" y="99"/>
                    <a:pt x="94" y="101"/>
                    <a:pt x="105" y="105"/>
                  </a:cubicBezTo>
                  <a:cubicBezTo>
                    <a:pt x="112" y="88"/>
                    <a:pt x="112" y="88"/>
                    <a:pt x="112" y="88"/>
                  </a:cubicBezTo>
                  <a:cubicBezTo>
                    <a:pt x="99" y="83"/>
                    <a:pt x="85" y="80"/>
                    <a:pt x="70" y="80"/>
                  </a:cubicBezTo>
                  <a:moveTo>
                    <a:pt x="70" y="0"/>
                  </a:moveTo>
                  <a:cubicBezTo>
                    <a:pt x="46" y="0"/>
                    <a:pt x="23" y="4"/>
                    <a:pt x="0" y="13"/>
                  </a:cubicBezTo>
                  <a:cubicBezTo>
                    <a:pt x="7" y="30"/>
                    <a:pt x="7" y="30"/>
                    <a:pt x="7" y="30"/>
                  </a:cubicBezTo>
                  <a:cubicBezTo>
                    <a:pt x="22" y="24"/>
                    <a:pt x="39" y="20"/>
                    <a:pt x="56" y="19"/>
                  </a:cubicBezTo>
                  <a:cubicBezTo>
                    <a:pt x="61" y="18"/>
                    <a:pt x="65" y="18"/>
                    <a:pt x="70" y="18"/>
                  </a:cubicBezTo>
                  <a:cubicBezTo>
                    <a:pt x="93" y="18"/>
                    <a:pt x="115" y="23"/>
                    <a:pt x="135" y="31"/>
                  </a:cubicBezTo>
                  <a:cubicBezTo>
                    <a:pt x="142" y="14"/>
                    <a:pt x="142" y="14"/>
                    <a:pt x="142" y="14"/>
                  </a:cubicBezTo>
                  <a:cubicBezTo>
                    <a:pt x="119" y="4"/>
                    <a:pt x="94" y="0"/>
                    <a:pt x="70" y="0"/>
                  </a:cubicBezTo>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2" name="Freeform 36"/>
            <p:cNvSpPr>
              <a:spLocks/>
            </p:cNvSpPr>
            <p:nvPr/>
          </p:nvSpPr>
          <p:spPr bwMode="auto">
            <a:xfrm>
              <a:off x="2359025" y="2301875"/>
              <a:ext cx="152400" cy="82550"/>
            </a:xfrm>
            <a:custGeom>
              <a:avLst/>
              <a:gdLst>
                <a:gd name="T0" fmla="*/ 63 w 128"/>
                <a:gd name="T1" fmla="*/ 0 h 70"/>
                <a:gd name="T2" fmla="*/ 49 w 128"/>
                <a:gd name="T3" fmla="*/ 1 h 70"/>
                <a:gd name="T4" fmla="*/ 0 w 128"/>
                <a:gd name="T5" fmla="*/ 12 h 70"/>
                <a:gd name="T6" fmla="*/ 22 w 128"/>
                <a:gd name="T7" fmla="*/ 70 h 70"/>
                <a:gd name="T8" fmla="*/ 54 w 128"/>
                <a:gd name="T9" fmla="*/ 62 h 70"/>
                <a:gd name="T10" fmla="*/ 63 w 128"/>
                <a:gd name="T11" fmla="*/ 62 h 70"/>
                <a:gd name="T12" fmla="*/ 105 w 128"/>
                <a:gd name="T13" fmla="*/ 70 h 70"/>
                <a:gd name="T14" fmla="*/ 128 w 128"/>
                <a:gd name="T15" fmla="*/ 13 h 70"/>
                <a:gd name="T16" fmla="*/ 63 w 12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63" y="0"/>
                  </a:moveTo>
                  <a:cubicBezTo>
                    <a:pt x="58" y="0"/>
                    <a:pt x="54" y="0"/>
                    <a:pt x="49" y="1"/>
                  </a:cubicBezTo>
                  <a:cubicBezTo>
                    <a:pt x="32" y="2"/>
                    <a:pt x="15" y="6"/>
                    <a:pt x="0" y="12"/>
                  </a:cubicBezTo>
                  <a:cubicBezTo>
                    <a:pt x="22" y="70"/>
                    <a:pt x="22" y="70"/>
                    <a:pt x="22" y="70"/>
                  </a:cubicBezTo>
                  <a:cubicBezTo>
                    <a:pt x="32" y="66"/>
                    <a:pt x="43" y="63"/>
                    <a:pt x="54" y="62"/>
                  </a:cubicBezTo>
                  <a:cubicBezTo>
                    <a:pt x="57" y="62"/>
                    <a:pt x="60" y="62"/>
                    <a:pt x="63" y="62"/>
                  </a:cubicBezTo>
                  <a:cubicBezTo>
                    <a:pt x="78" y="62"/>
                    <a:pt x="92" y="65"/>
                    <a:pt x="105" y="70"/>
                  </a:cubicBezTo>
                  <a:cubicBezTo>
                    <a:pt x="128" y="13"/>
                    <a:pt x="128" y="13"/>
                    <a:pt x="128" y="13"/>
                  </a:cubicBezTo>
                  <a:cubicBezTo>
                    <a:pt x="108" y="5"/>
                    <a:pt x="86" y="0"/>
                    <a:pt x="63" y="0"/>
                  </a:cubicBezTo>
                </a:path>
              </a:pathLst>
            </a:custGeom>
            <a:solidFill>
              <a:srgbClr val="9ED3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4" name="Freeform 37"/>
            <p:cNvSpPr>
              <a:spLocks noEditPoints="1"/>
            </p:cNvSpPr>
            <p:nvPr/>
          </p:nvSpPr>
          <p:spPr bwMode="auto">
            <a:xfrm>
              <a:off x="2620963" y="2408238"/>
              <a:ext cx="42863" cy="104775"/>
            </a:xfrm>
            <a:custGeom>
              <a:avLst/>
              <a:gdLst>
                <a:gd name="T0" fmla="*/ 34 w 36"/>
                <a:gd name="T1" fmla="*/ 59 h 87"/>
                <a:gd name="T2" fmla="*/ 15 w 36"/>
                <a:gd name="T3" fmla="*/ 59 h 87"/>
                <a:gd name="T4" fmla="*/ 17 w 36"/>
                <a:gd name="T5" fmla="*/ 69 h 87"/>
                <a:gd name="T6" fmla="*/ 17 w 36"/>
                <a:gd name="T7" fmla="*/ 87 h 87"/>
                <a:gd name="T8" fmla="*/ 36 w 36"/>
                <a:gd name="T9" fmla="*/ 87 h 87"/>
                <a:gd name="T10" fmla="*/ 34 w 36"/>
                <a:gd name="T11" fmla="*/ 59 h 87"/>
                <a:gd name="T12" fmla="*/ 16 w 36"/>
                <a:gd name="T13" fmla="*/ 0 h 87"/>
                <a:gd name="T14" fmla="*/ 0 w 36"/>
                <a:gd name="T15" fmla="*/ 8 h 87"/>
                <a:gd name="T16" fmla="*/ 14 w 36"/>
                <a:gd name="T17" fmla="*/ 48 h 87"/>
                <a:gd name="T18" fmla="*/ 32 w 36"/>
                <a:gd name="T19" fmla="*/ 48 h 87"/>
                <a:gd name="T20" fmla="*/ 16 w 36"/>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87">
                  <a:moveTo>
                    <a:pt x="34" y="59"/>
                  </a:moveTo>
                  <a:cubicBezTo>
                    <a:pt x="15" y="59"/>
                    <a:pt x="15" y="59"/>
                    <a:pt x="15" y="59"/>
                  </a:cubicBezTo>
                  <a:cubicBezTo>
                    <a:pt x="16" y="62"/>
                    <a:pt x="16" y="66"/>
                    <a:pt x="17" y="69"/>
                  </a:cubicBezTo>
                  <a:cubicBezTo>
                    <a:pt x="17" y="75"/>
                    <a:pt x="17" y="81"/>
                    <a:pt x="17" y="87"/>
                  </a:cubicBezTo>
                  <a:cubicBezTo>
                    <a:pt x="36" y="87"/>
                    <a:pt x="36" y="87"/>
                    <a:pt x="36" y="87"/>
                  </a:cubicBezTo>
                  <a:cubicBezTo>
                    <a:pt x="36" y="78"/>
                    <a:pt x="35" y="68"/>
                    <a:pt x="34" y="59"/>
                  </a:cubicBezTo>
                  <a:moveTo>
                    <a:pt x="16" y="0"/>
                  </a:moveTo>
                  <a:cubicBezTo>
                    <a:pt x="0" y="8"/>
                    <a:pt x="0" y="8"/>
                    <a:pt x="0" y="8"/>
                  </a:cubicBezTo>
                  <a:cubicBezTo>
                    <a:pt x="6" y="21"/>
                    <a:pt x="11" y="34"/>
                    <a:pt x="14" y="48"/>
                  </a:cubicBezTo>
                  <a:cubicBezTo>
                    <a:pt x="32" y="48"/>
                    <a:pt x="32" y="48"/>
                    <a:pt x="32" y="48"/>
                  </a:cubicBezTo>
                  <a:cubicBezTo>
                    <a:pt x="29" y="32"/>
                    <a:pt x="24" y="15"/>
                    <a:pt x="16" y="0"/>
                  </a:cubicBezTo>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5" name="Freeform 38"/>
            <p:cNvSpPr>
              <a:spLocks/>
            </p:cNvSpPr>
            <p:nvPr/>
          </p:nvSpPr>
          <p:spPr bwMode="auto">
            <a:xfrm>
              <a:off x="2636838" y="2466975"/>
              <a:ext cx="23813" cy="12700"/>
            </a:xfrm>
            <a:custGeom>
              <a:avLst/>
              <a:gdLst>
                <a:gd name="T0" fmla="*/ 18 w 20"/>
                <a:gd name="T1" fmla="*/ 0 h 11"/>
                <a:gd name="T2" fmla="*/ 0 w 20"/>
                <a:gd name="T3" fmla="*/ 0 h 11"/>
                <a:gd name="T4" fmla="*/ 1 w 20"/>
                <a:gd name="T5" fmla="*/ 11 h 11"/>
                <a:gd name="T6" fmla="*/ 20 w 20"/>
                <a:gd name="T7" fmla="*/ 11 h 11"/>
                <a:gd name="T8" fmla="*/ 18 w 20"/>
                <a:gd name="T9" fmla="*/ 0 h 11"/>
              </a:gdLst>
              <a:ahLst/>
              <a:cxnLst>
                <a:cxn ang="0">
                  <a:pos x="T0" y="T1"/>
                </a:cxn>
                <a:cxn ang="0">
                  <a:pos x="T2" y="T3"/>
                </a:cxn>
                <a:cxn ang="0">
                  <a:pos x="T4" y="T5"/>
                </a:cxn>
                <a:cxn ang="0">
                  <a:pos x="T6" y="T7"/>
                </a:cxn>
                <a:cxn ang="0">
                  <a:pos x="T8" y="T9"/>
                </a:cxn>
              </a:cxnLst>
              <a:rect l="0" t="0" r="r" b="b"/>
              <a:pathLst>
                <a:path w="20" h="11">
                  <a:moveTo>
                    <a:pt x="18" y="0"/>
                  </a:moveTo>
                  <a:cubicBezTo>
                    <a:pt x="0" y="0"/>
                    <a:pt x="0" y="0"/>
                    <a:pt x="0" y="0"/>
                  </a:cubicBezTo>
                  <a:cubicBezTo>
                    <a:pt x="0" y="4"/>
                    <a:pt x="1" y="7"/>
                    <a:pt x="1" y="11"/>
                  </a:cubicBezTo>
                  <a:cubicBezTo>
                    <a:pt x="20" y="11"/>
                    <a:pt x="20" y="11"/>
                    <a:pt x="20" y="11"/>
                  </a:cubicBezTo>
                  <a:cubicBezTo>
                    <a:pt x="20" y="7"/>
                    <a:pt x="19" y="4"/>
                    <a:pt x="18" y="0"/>
                  </a:cubicBezTo>
                </a:path>
              </a:pathLst>
            </a:custGeom>
            <a:solidFill>
              <a:srgbClr val="419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6" name="Freeform 39"/>
            <p:cNvSpPr>
              <a:spLocks/>
            </p:cNvSpPr>
            <p:nvPr/>
          </p:nvSpPr>
          <p:spPr bwMode="auto">
            <a:xfrm>
              <a:off x="2533650" y="2451100"/>
              <a:ext cx="33338" cy="60325"/>
            </a:xfrm>
            <a:custGeom>
              <a:avLst/>
              <a:gdLst>
                <a:gd name="T0" fmla="*/ 17 w 28"/>
                <a:gd name="T1" fmla="*/ 0 h 51"/>
                <a:gd name="T2" fmla="*/ 0 w 28"/>
                <a:gd name="T3" fmla="*/ 8 h 51"/>
                <a:gd name="T4" fmla="*/ 10 w 28"/>
                <a:gd name="T5" fmla="*/ 50 h 51"/>
                <a:gd name="T6" fmla="*/ 28 w 28"/>
                <a:gd name="T7" fmla="*/ 51 h 51"/>
                <a:gd name="T8" fmla="*/ 28 w 28"/>
                <a:gd name="T9" fmla="*/ 39 h 51"/>
                <a:gd name="T10" fmla="*/ 17 w 28"/>
                <a:gd name="T11" fmla="*/ 0 h 51"/>
              </a:gdLst>
              <a:ahLst/>
              <a:cxnLst>
                <a:cxn ang="0">
                  <a:pos x="T0" y="T1"/>
                </a:cxn>
                <a:cxn ang="0">
                  <a:pos x="T2" y="T3"/>
                </a:cxn>
                <a:cxn ang="0">
                  <a:pos x="T4" y="T5"/>
                </a:cxn>
                <a:cxn ang="0">
                  <a:pos x="T6" y="T7"/>
                </a:cxn>
                <a:cxn ang="0">
                  <a:pos x="T8" y="T9"/>
                </a:cxn>
                <a:cxn ang="0">
                  <a:pos x="T10" y="T11"/>
                </a:cxn>
              </a:cxnLst>
              <a:rect l="0" t="0" r="r" b="b"/>
              <a:pathLst>
                <a:path w="28" h="51">
                  <a:moveTo>
                    <a:pt x="17" y="0"/>
                  </a:moveTo>
                  <a:cubicBezTo>
                    <a:pt x="0" y="8"/>
                    <a:pt x="0" y="8"/>
                    <a:pt x="0" y="8"/>
                  </a:cubicBezTo>
                  <a:cubicBezTo>
                    <a:pt x="7" y="21"/>
                    <a:pt x="10" y="36"/>
                    <a:pt x="10" y="50"/>
                  </a:cubicBezTo>
                  <a:cubicBezTo>
                    <a:pt x="28" y="51"/>
                    <a:pt x="28" y="51"/>
                    <a:pt x="28" y="51"/>
                  </a:cubicBezTo>
                  <a:cubicBezTo>
                    <a:pt x="28" y="47"/>
                    <a:pt x="28" y="43"/>
                    <a:pt x="28" y="39"/>
                  </a:cubicBezTo>
                  <a:cubicBezTo>
                    <a:pt x="27" y="25"/>
                    <a:pt x="23" y="12"/>
                    <a:pt x="17" y="0"/>
                  </a:cubicBezTo>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7" name="Freeform 40"/>
            <p:cNvSpPr>
              <a:spLocks/>
            </p:cNvSpPr>
            <p:nvPr/>
          </p:nvSpPr>
          <p:spPr bwMode="auto">
            <a:xfrm>
              <a:off x="2554288" y="2417763"/>
              <a:ext cx="87313" cy="95250"/>
            </a:xfrm>
            <a:custGeom>
              <a:avLst/>
              <a:gdLst>
                <a:gd name="T0" fmla="*/ 56 w 73"/>
                <a:gd name="T1" fmla="*/ 0 h 79"/>
                <a:gd name="T2" fmla="*/ 0 w 73"/>
                <a:gd name="T3" fmla="*/ 27 h 79"/>
                <a:gd name="T4" fmla="*/ 11 w 73"/>
                <a:gd name="T5" fmla="*/ 66 h 79"/>
                <a:gd name="T6" fmla="*/ 11 w 73"/>
                <a:gd name="T7" fmla="*/ 78 h 79"/>
                <a:gd name="T8" fmla="*/ 73 w 73"/>
                <a:gd name="T9" fmla="*/ 79 h 79"/>
                <a:gd name="T10" fmla="*/ 73 w 73"/>
                <a:gd name="T11" fmla="*/ 61 h 79"/>
                <a:gd name="T12" fmla="*/ 71 w 73"/>
                <a:gd name="T13" fmla="*/ 51 h 79"/>
                <a:gd name="T14" fmla="*/ 70 w 73"/>
                <a:gd name="T15" fmla="*/ 40 h 79"/>
                <a:gd name="T16" fmla="*/ 56 w 73"/>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9">
                  <a:moveTo>
                    <a:pt x="56" y="0"/>
                  </a:moveTo>
                  <a:cubicBezTo>
                    <a:pt x="0" y="27"/>
                    <a:pt x="0" y="27"/>
                    <a:pt x="0" y="27"/>
                  </a:cubicBezTo>
                  <a:cubicBezTo>
                    <a:pt x="6" y="39"/>
                    <a:pt x="10" y="52"/>
                    <a:pt x="11" y="66"/>
                  </a:cubicBezTo>
                  <a:cubicBezTo>
                    <a:pt x="11" y="70"/>
                    <a:pt x="11" y="74"/>
                    <a:pt x="11" y="78"/>
                  </a:cubicBezTo>
                  <a:cubicBezTo>
                    <a:pt x="73" y="79"/>
                    <a:pt x="73" y="79"/>
                    <a:pt x="73" y="79"/>
                  </a:cubicBezTo>
                  <a:cubicBezTo>
                    <a:pt x="73" y="73"/>
                    <a:pt x="73" y="67"/>
                    <a:pt x="73" y="61"/>
                  </a:cubicBezTo>
                  <a:cubicBezTo>
                    <a:pt x="72" y="58"/>
                    <a:pt x="72" y="54"/>
                    <a:pt x="71" y="51"/>
                  </a:cubicBezTo>
                  <a:cubicBezTo>
                    <a:pt x="71" y="47"/>
                    <a:pt x="70" y="44"/>
                    <a:pt x="70" y="40"/>
                  </a:cubicBezTo>
                  <a:cubicBezTo>
                    <a:pt x="67" y="26"/>
                    <a:pt x="62" y="13"/>
                    <a:pt x="56" y="0"/>
                  </a:cubicBezTo>
                </a:path>
              </a:pathLst>
            </a:custGeom>
            <a:solidFill>
              <a:srgbClr val="9ED3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8" name="Freeform 41"/>
            <p:cNvSpPr>
              <a:spLocks noEditPoints="1"/>
            </p:cNvSpPr>
            <p:nvPr/>
          </p:nvSpPr>
          <p:spPr bwMode="auto">
            <a:xfrm>
              <a:off x="2970213" y="2308225"/>
              <a:ext cx="34925" cy="53975"/>
            </a:xfrm>
            <a:custGeom>
              <a:avLst/>
              <a:gdLst>
                <a:gd name="T0" fmla="*/ 15 w 29"/>
                <a:gd name="T1" fmla="*/ 41 h 45"/>
                <a:gd name="T2" fmla="*/ 6 w 29"/>
                <a:gd name="T3" fmla="*/ 32 h 45"/>
                <a:gd name="T4" fmla="*/ 14 w 29"/>
                <a:gd name="T5" fmla="*/ 23 h 45"/>
                <a:gd name="T6" fmla="*/ 23 w 29"/>
                <a:gd name="T7" fmla="*/ 33 h 45"/>
                <a:gd name="T8" fmla="*/ 15 w 29"/>
                <a:gd name="T9" fmla="*/ 41 h 45"/>
                <a:gd name="T10" fmla="*/ 15 w 29"/>
                <a:gd name="T11" fmla="*/ 19 h 45"/>
                <a:gd name="T12" fmla="*/ 7 w 29"/>
                <a:gd name="T13" fmla="*/ 11 h 45"/>
                <a:gd name="T14" fmla="*/ 15 w 29"/>
                <a:gd name="T15" fmla="*/ 4 h 45"/>
                <a:gd name="T16" fmla="*/ 22 w 29"/>
                <a:gd name="T17" fmla="*/ 11 h 45"/>
                <a:gd name="T18" fmla="*/ 15 w 29"/>
                <a:gd name="T19" fmla="*/ 19 h 45"/>
                <a:gd name="T20" fmla="*/ 15 w 29"/>
                <a:gd name="T21" fmla="*/ 0 h 45"/>
                <a:gd name="T22" fmla="*/ 1 w 29"/>
                <a:gd name="T23" fmla="*/ 12 h 45"/>
                <a:gd name="T24" fmla="*/ 8 w 29"/>
                <a:gd name="T25" fmla="*/ 21 h 45"/>
                <a:gd name="T26" fmla="*/ 8 w 29"/>
                <a:gd name="T27" fmla="*/ 22 h 45"/>
                <a:gd name="T28" fmla="*/ 0 w 29"/>
                <a:gd name="T29" fmla="*/ 33 h 45"/>
                <a:gd name="T30" fmla="*/ 14 w 29"/>
                <a:gd name="T31" fmla="*/ 45 h 45"/>
                <a:gd name="T32" fmla="*/ 29 w 29"/>
                <a:gd name="T33" fmla="*/ 32 h 45"/>
                <a:gd name="T34" fmla="*/ 20 w 29"/>
                <a:gd name="T35" fmla="*/ 21 h 45"/>
                <a:gd name="T36" fmla="*/ 20 w 29"/>
                <a:gd name="T37" fmla="*/ 21 h 45"/>
                <a:gd name="T38" fmla="*/ 28 w 29"/>
                <a:gd name="T39" fmla="*/ 11 h 45"/>
                <a:gd name="T40" fmla="*/ 15 w 29"/>
                <a:gd name="T4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45">
                  <a:moveTo>
                    <a:pt x="15" y="41"/>
                  </a:moveTo>
                  <a:cubicBezTo>
                    <a:pt x="9" y="41"/>
                    <a:pt x="6" y="37"/>
                    <a:pt x="6" y="32"/>
                  </a:cubicBezTo>
                  <a:cubicBezTo>
                    <a:pt x="6" y="28"/>
                    <a:pt x="9" y="25"/>
                    <a:pt x="14" y="23"/>
                  </a:cubicBezTo>
                  <a:cubicBezTo>
                    <a:pt x="20" y="25"/>
                    <a:pt x="23" y="28"/>
                    <a:pt x="23" y="33"/>
                  </a:cubicBezTo>
                  <a:cubicBezTo>
                    <a:pt x="23" y="37"/>
                    <a:pt x="20" y="41"/>
                    <a:pt x="15" y="41"/>
                  </a:cubicBezTo>
                  <a:moveTo>
                    <a:pt x="15" y="19"/>
                  </a:moveTo>
                  <a:cubicBezTo>
                    <a:pt x="10" y="18"/>
                    <a:pt x="7" y="16"/>
                    <a:pt x="7" y="11"/>
                  </a:cubicBezTo>
                  <a:cubicBezTo>
                    <a:pt x="7" y="7"/>
                    <a:pt x="10" y="4"/>
                    <a:pt x="15" y="4"/>
                  </a:cubicBezTo>
                  <a:cubicBezTo>
                    <a:pt x="20" y="4"/>
                    <a:pt x="22" y="8"/>
                    <a:pt x="22" y="11"/>
                  </a:cubicBezTo>
                  <a:cubicBezTo>
                    <a:pt x="22" y="15"/>
                    <a:pt x="19" y="18"/>
                    <a:pt x="15" y="19"/>
                  </a:cubicBezTo>
                  <a:moveTo>
                    <a:pt x="15" y="0"/>
                  </a:moveTo>
                  <a:cubicBezTo>
                    <a:pt x="7" y="0"/>
                    <a:pt x="1" y="5"/>
                    <a:pt x="1" y="12"/>
                  </a:cubicBezTo>
                  <a:cubicBezTo>
                    <a:pt x="1" y="15"/>
                    <a:pt x="4" y="19"/>
                    <a:pt x="8" y="21"/>
                  </a:cubicBezTo>
                  <a:cubicBezTo>
                    <a:pt x="8" y="22"/>
                    <a:pt x="8" y="22"/>
                    <a:pt x="8" y="22"/>
                  </a:cubicBezTo>
                  <a:cubicBezTo>
                    <a:pt x="3" y="24"/>
                    <a:pt x="0" y="28"/>
                    <a:pt x="0" y="33"/>
                  </a:cubicBezTo>
                  <a:cubicBezTo>
                    <a:pt x="0" y="40"/>
                    <a:pt x="5" y="45"/>
                    <a:pt x="14" y="45"/>
                  </a:cubicBezTo>
                  <a:cubicBezTo>
                    <a:pt x="23" y="45"/>
                    <a:pt x="29" y="40"/>
                    <a:pt x="29" y="32"/>
                  </a:cubicBezTo>
                  <a:cubicBezTo>
                    <a:pt x="29" y="27"/>
                    <a:pt x="26" y="23"/>
                    <a:pt x="20" y="21"/>
                  </a:cubicBezTo>
                  <a:cubicBezTo>
                    <a:pt x="20" y="21"/>
                    <a:pt x="20" y="21"/>
                    <a:pt x="20" y="21"/>
                  </a:cubicBezTo>
                  <a:cubicBezTo>
                    <a:pt x="26" y="18"/>
                    <a:pt x="28" y="14"/>
                    <a:pt x="28" y="11"/>
                  </a:cubicBezTo>
                  <a:cubicBezTo>
                    <a:pt x="28" y="5"/>
                    <a:pt x="23" y="0"/>
                    <a:pt x="15"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0" name="Freeform 42"/>
            <p:cNvSpPr>
              <a:spLocks noEditPoints="1"/>
            </p:cNvSpPr>
            <p:nvPr/>
          </p:nvSpPr>
          <p:spPr bwMode="auto">
            <a:xfrm>
              <a:off x="3013075" y="2308225"/>
              <a:ext cx="58738" cy="53975"/>
            </a:xfrm>
            <a:custGeom>
              <a:avLst/>
              <a:gdLst>
                <a:gd name="T0" fmla="*/ 39 w 49"/>
                <a:gd name="T1" fmla="*/ 41 h 45"/>
                <a:gd name="T2" fmla="*/ 33 w 49"/>
                <a:gd name="T3" fmla="*/ 31 h 45"/>
                <a:gd name="T4" fmla="*/ 39 w 49"/>
                <a:gd name="T5" fmla="*/ 22 h 45"/>
                <a:gd name="T6" fmla="*/ 45 w 49"/>
                <a:gd name="T7" fmla="*/ 31 h 45"/>
                <a:gd name="T8" fmla="*/ 39 w 49"/>
                <a:gd name="T9" fmla="*/ 41 h 45"/>
                <a:gd name="T10" fmla="*/ 39 w 49"/>
                <a:gd name="T11" fmla="*/ 18 h 45"/>
                <a:gd name="T12" fmla="*/ 29 w 49"/>
                <a:gd name="T13" fmla="*/ 32 h 45"/>
                <a:gd name="T14" fmla="*/ 39 w 49"/>
                <a:gd name="T15" fmla="*/ 45 h 45"/>
                <a:gd name="T16" fmla="*/ 49 w 49"/>
                <a:gd name="T17" fmla="*/ 31 h 45"/>
                <a:gd name="T18" fmla="*/ 39 w 49"/>
                <a:gd name="T19" fmla="*/ 18 h 45"/>
                <a:gd name="T20" fmla="*/ 11 w 49"/>
                <a:gd name="T21" fmla="*/ 23 h 45"/>
                <a:gd name="T22" fmla="*/ 5 w 49"/>
                <a:gd name="T23" fmla="*/ 13 h 45"/>
                <a:gd name="T24" fmla="*/ 11 w 49"/>
                <a:gd name="T25" fmla="*/ 4 h 45"/>
                <a:gd name="T26" fmla="*/ 16 w 49"/>
                <a:gd name="T27" fmla="*/ 13 h 45"/>
                <a:gd name="T28" fmla="*/ 11 w 49"/>
                <a:gd name="T29" fmla="*/ 23 h 45"/>
                <a:gd name="T30" fmla="*/ 11 w 49"/>
                <a:gd name="T31" fmla="*/ 0 h 45"/>
                <a:gd name="T32" fmla="*/ 0 w 49"/>
                <a:gd name="T33" fmla="*/ 14 h 45"/>
                <a:gd name="T34" fmla="*/ 11 w 49"/>
                <a:gd name="T35" fmla="*/ 27 h 45"/>
                <a:gd name="T36" fmla="*/ 21 w 49"/>
                <a:gd name="T37" fmla="*/ 13 h 45"/>
                <a:gd name="T38" fmla="*/ 11 w 49"/>
                <a:gd name="T39" fmla="*/ 0 h 45"/>
                <a:gd name="T40" fmla="*/ 40 w 49"/>
                <a:gd name="T41" fmla="*/ 0 h 45"/>
                <a:gd name="T42" fmla="*/ 36 w 49"/>
                <a:gd name="T43" fmla="*/ 0 h 45"/>
                <a:gd name="T44" fmla="*/ 10 w 49"/>
                <a:gd name="T45" fmla="*/ 45 h 45"/>
                <a:gd name="T46" fmla="*/ 14 w 49"/>
                <a:gd name="T47" fmla="*/ 45 h 45"/>
                <a:gd name="T48" fmla="*/ 40 w 49"/>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45">
                  <a:moveTo>
                    <a:pt x="39" y="41"/>
                  </a:moveTo>
                  <a:cubicBezTo>
                    <a:pt x="36" y="41"/>
                    <a:pt x="33" y="37"/>
                    <a:pt x="33" y="31"/>
                  </a:cubicBezTo>
                  <a:cubicBezTo>
                    <a:pt x="33" y="26"/>
                    <a:pt x="35" y="22"/>
                    <a:pt x="39" y="22"/>
                  </a:cubicBezTo>
                  <a:cubicBezTo>
                    <a:pt x="43" y="22"/>
                    <a:pt x="45" y="26"/>
                    <a:pt x="45" y="31"/>
                  </a:cubicBezTo>
                  <a:cubicBezTo>
                    <a:pt x="45" y="37"/>
                    <a:pt x="43" y="41"/>
                    <a:pt x="39" y="41"/>
                  </a:cubicBezTo>
                  <a:moveTo>
                    <a:pt x="39" y="18"/>
                  </a:moveTo>
                  <a:cubicBezTo>
                    <a:pt x="34" y="18"/>
                    <a:pt x="29" y="23"/>
                    <a:pt x="29" y="32"/>
                  </a:cubicBezTo>
                  <a:cubicBezTo>
                    <a:pt x="29" y="40"/>
                    <a:pt x="34" y="45"/>
                    <a:pt x="39" y="45"/>
                  </a:cubicBezTo>
                  <a:cubicBezTo>
                    <a:pt x="45" y="45"/>
                    <a:pt x="49" y="40"/>
                    <a:pt x="49" y="31"/>
                  </a:cubicBezTo>
                  <a:cubicBezTo>
                    <a:pt x="49" y="23"/>
                    <a:pt x="45" y="18"/>
                    <a:pt x="39" y="18"/>
                  </a:cubicBezTo>
                  <a:moveTo>
                    <a:pt x="11" y="23"/>
                  </a:moveTo>
                  <a:cubicBezTo>
                    <a:pt x="7" y="23"/>
                    <a:pt x="5" y="19"/>
                    <a:pt x="5" y="13"/>
                  </a:cubicBezTo>
                  <a:cubicBezTo>
                    <a:pt x="5" y="8"/>
                    <a:pt x="7" y="4"/>
                    <a:pt x="11" y="4"/>
                  </a:cubicBezTo>
                  <a:cubicBezTo>
                    <a:pt x="15" y="4"/>
                    <a:pt x="16" y="8"/>
                    <a:pt x="16" y="13"/>
                  </a:cubicBezTo>
                  <a:cubicBezTo>
                    <a:pt x="16" y="19"/>
                    <a:pt x="15" y="23"/>
                    <a:pt x="11" y="23"/>
                  </a:cubicBezTo>
                  <a:moveTo>
                    <a:pt x="11" y="0"/>
                  </a:moveTo>
                  <a:cubicBezTo>
                    <a:pt x="5" y="0"/>
                    <a:pt x="0" y="5"/>
                    <a:pt x="0" y="14"/>
                  </a:cubicBezTo>
                  <a:cubicBezTo>
                    <a:pt x="0" y="22"/>
                    <a:pt x="5" y="27"/>
                    <a:pt x="11" y="27"/>
                  </a:cubicBezTo>
                  <a:cubicBezTo>
                    <a:pt x="16" y="27"/>
                    <a:pt x="21" y="22"/>
                    <a:pt x="21" y="13"/>
                  </a:cubicBezTo>
                  <a:cubicBezTo>
                    <a:pt x="21" y="5"/>
                    <a:pt x="17" y="0"/>
                    <a:pt x="11" y="0"/>
                  </a:cubicBezTo>
                  <a:moveTo>
                    <a:pt x="40" y="0"/>
                  </a:moveTo>
                  <a:cubicBezTo>
                    <a:pt x="36" y="0"/>
                    <a:pt x="36" y="0"/>
                    <a:pt x="36" y="0"/>
                  </a:cubicBezTo>
                  <a:cubicBezTo>
                    <a:pt x="10" y="45"/>
                    <a:pt x="10" y="45"/>
                    <a:pt x="10" y="45"/>
                  </a:cubicBezTo>
                  <a:cubicBezTo>
                    <a:pt x="14" y="45"/>
                    <a:pt x="14" y="45"/>
                    <a:pt x="14" y="45"/>
                  </a:cubicBezTo>
                  <a:cubicBezTo>
                    <a:pt x="40" y="0"/>
                    <a:pt x="40" y="0"/>
                    <a:pt x="40"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1" name="Rectangle 43"/>
            <p:cNvSpPr>
              <a:spLocks noChangeArrowheads="1"/>
            </p:cNvSpPr>
            <p:nvPr/>
          </p:nvSpPr>
          <p:spPr bwMode="auto">
            <a:xfrm>
              <a:off x="3125788" y="2300288"/>
              <a:ext cx="268288" cy="20638"/>
            </a:xfrm>
            <a:prstGeom prst="rect">
              <a:avLst/>
            </a:prstGeom>
            <a:solidFill>
              <a:srgbClr val="4594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2" name="Rectangle 44"/>
            <p:cNvSpPr>
              <a:spLocks noChangeArrowheads="1"/>
            </p:cNvSpPr>
            <p:nvPr/>
          </p:nvSpPr>
          <p:spPr bwMode="auto">
            <a:xfrm>
              <a:off x="3125788" y="2300288"/>
              <a:ext cx="268288" cy="2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3" name="Rectangle 45"/>
            <p:cNvSpPr>
              <a:spLocks noChangeArrowheads="1"/>
            </p:cNvSpPr>
            <p:nvPr/>
          </p:nvSpPr>
          <p:spPr bwMode="auto">
            <a:xfrm>
              <a:off x="3125788" y="2344738"/>
              <a:ext cx="100013" cy="20638"/>
            </a:xfrm>
            <a:prstGeom prst="rect">
              <a:avLst/>
            </a:prstGeom>
            <a:solidFill>
              <a:srgbClr val="4594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4" name="Rectangle 46"/>
            <p:cNvSpPr>
              <a:spLocks noChangeArrowheads="1"/>
            </p:cNvSpPr>
            <p:nvPr/>
          </p:nvSpPr>
          <p:spPr bwMode="auto">
            <a:xfrm>
              <a:off x="3125788" y="2344738"/>
              <a:ext cx="100013" cy="2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5" name="Freeform 47"/>
            <p:cNvSpPr>
              <a:spLocks/>
            </p:cNvSpPr>
            <p:nvPr/>
          </p:nvSpPr>
          <p:spPr bwMode="auto">
            <a:xfrm>
              <a:off x="1897063" y="2805113"/>
              <a:ext cx="33338" cy="52388"/>
            </a:xfrm>
            <a:custGeom>
              <a:avLst/>
              <a:gdLst>
                <a:gd name="T0" fmla="*/ 14 w 28"/>
                <a:gd name="T1" fmla="*/ 0 h 44"/>
                <a:gd name="T2" fmla="*/ 1 w 28"/>
                <a:gd name="T3" fmla="*/ 5 h 44"/>
                <a:gd name="T4" fmla="*/ 3 w 28"/>
                <a:gd name="T5" fmla="*/ 9 h 44"/>
                <a:gd name="T6" fmla="*/ 12 w 28"/>
                <a:gd name="T7" fmla="*/ 5 h 44"/>
                <a:gd name="T8" fmla="*/ 21 w 28"/>
                <a:gd name="T9" fmla="*/ 14 h 44"/>
                <a:gd name="T10" fmla="*/ 5 w 28"/>
                <a:gd name="T11" fmla="*/ 36 h 44"/>
                <a:gd name="T12" fmla="*/ 0 w 28"/>
                <a:gd name="T13" fmla="*/ 41 h 44"/>
                <a:gd name="T14" fmla="*/ 0 w 28"/>
                <a:gd name="T15" fmla="*/ 44 h 44"/>
                <a:gd name="T16" fmla="*/ 28 w 28"/>
                <a:gd name="T17" fmla="*/ 44 h 44"/>
                <a:gd name="T18" fmla="*/ 28 w 28"/>
                <a:gd name="T19" fmla="*/ 40 h 44"/>
                <a:gd name="T20" fmla="*/ 8 w 28"/>
                <a:gd name="T21" fmla="*/ 40 h 44"/>
                <a:gd name="T22" fmla="*/ 8 w 28"/>
                <a:gd name="T23" fmla="*/ 39 h 44"/>
                <a:gd name="T24" fmla="*/ 12 w 28"/>
                <a:gd name="T25" fmla="*/ 36 h 44"/>
                <a:gd name="T26" fmla="*/ 27 w 28"/>
                <a:gd name="T27" fmla="*/ 13 h 44"/>
                <a:gd name="T28" fmla="*/ 14 w 28"/>
                <a:gd name="T2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44">
                  <a:moveTo>
                    <a:pt x="14" y="0"/>
                  </a:moveTo>
                  <a:cubicBezTo>
                    <a:pt x="9" y="0"/>
                    <a:pt x="4" y="2"/>
                    <a:pt x="1" y="5"/>
                  </a:cubicBezTo>
                  <a:cubicBezTo>
                    <a:pt x="3" y="9"/>
                    <a:pt x="3" y="9"/>
                    <a:pt x="3" y="9"/>
                  </a:cubicBezTo>
                  <a:cubicBezTo>
                    <a:pt x="5" y="7"/>
                    <a:pt x="8" y="5"/>
                    <a:pt x="12" y="5"/>
                  </a:cubicBezTo>
                  <a:cubicBezTo>
                    <a:pt x="19" y="5"/>
                    <a:pt x="21" y="9"/>
                    <a:pt x="21" y="14"/>
                  </a:cubicBezTo>
                  <a:cubicBezTo>
                    <a:pt x="21" y="20"/>
                    <a:pt x="16" y="26"/>
                    <a:pt x="5" y="36"/>
                  </a:cubicBezTo>
                  <a:cubicBezTo>
                    <a:pt x="0" y="41"/>
                    <a:pt x="0" y="41"/>
                    <a:pt x="0" y="41"/>
                  </a:cubicBezTo>
                  <a:cubicBezTo>
                    <a:pt x="0" y="44"/>
                    <a:pt x="0" y="44"/>
                    <a:pt x="0" y="44"/>
                  </a:cubicBezTo>
                  <a:cubicBezTo>
                    <a:pt x="28" y="44"/>
                    <a:pt x="28" y="44"/>
                    <a:pt x="28" y="44"/>
                  </a:cubicBezTo>
                  <a:cubicBezTo>
                    <a:pt x="28" y="40"/>
                    <a:pt x="28" y="40"/>
                    <a:pt x="28" y="40"/>
                  </a:cubicBezTo>
                  <a:cubicBezTo>
                    <a:pt x="8" y="40"/>
                    <a:pt x="8" y="40"/>
                    <a:pt x="8" y="40"/>
                  </a:cubicBezTo>
                  <a:cubicBezTo>
                    <a:pt x="8" y="39"/>
                    <a:pt x="8" y="39"/>
                    <a:pt x="8" y="39"/>
                  </a:cubicBezTo>
                  <a:cubicBezTo>
                    <a:pt x="12" y="36"/>
                    <a:pt x="12" y="36"/>
                    <a:pt x="12" y="36"/>
                  </a:cubicBezTo>
                  <a:cubicBezTo>
                    <a:pt x="21" y="27"/>
                    <a:pt x="27" y="21"/>
                    <a:pt x="27" y="13"/>
                  </a:cubicBezTo>
                  <a:cubicBezTo>
                    <a:pt x="27" y="7"/>
                    <a:pt x="23" y="0"/>
                    <a:pt x="14"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59" name="Freeform 48"/>
            <p:cNvSpPr>
              <a:spLocks/>
            </p:cNvSpPr>
            <p:nvPr/>
          </p:nvSpPr>
          <p:spPr bwMode="auto">
            <a:xfrm>
              <a:off x="1941513" y="2805113"/>
              <a:ext cx="33338" cy="52388"/>
            </a:xfrm>
            <a:custGeom>
              <a:avLst/>
              <a:gdLst>
                <a:gd name="T0" fmla="*/ 14 w 28"/>
                <a:gd name="T1" fmla="*/ 0 h 44"/>
                <a:gd name="T2" fmla="*/ 1 w 28"/>
                <a:gd name="T3" fmla="*/ 5 h 44"/>
                <a:gd name="T4" fmla="*/ 3 w 28"/>
                <a:gd name="T5" fmla="*/ 9 h 44"/>
                <a:gd name="T6" fmla="*/ 12 w 28"/>
                <a:gd name="T7" fmla="*/ 5 h 44"/>
                <a:gd name="T8" fmla="*/ 21 w 28"/>
                <a:gd name="T9" fmla="*/ 14 h 44"/>
                <a:gd name="T10" fmla="*/ 5 w 28"/>
                <a:gd name="T11" fmla="*/ 36 h 44"/>
                <a:gd name="T12" fmla="*/ 0 w 28"/>
                <a:gd name="T13" fmla="*/ 41 h 44"/>
                <a:gd name="T14" fmla="*/ 0 w 28"/>
                <a:gd name="T15" fmla="*/ 44 h 44"/>
                <a:gd name="T16" fmla="*/ 28 w 28"/>
                <a:gd name="T17" fmla="*/ 44 h 44"/>
                <a:gd name="T18" fmla="*/ 28 w 28"/>
                <a:gd name="T19" fmla="*/ 40 h 44"/>
                <a:gd name="T20" fmla="*/ 8 w 28"/>
                <a:gd name="T21" fmla="*/ 40 h 44"/>
                <a:gd name="T22" fmla="*/ 8 w 28"/>
                <a:gd name="T23" fmla="*/ 39 h 44"/>
                <a:gd name="T24" fmla="*/ 12 w 28"/>
                <a:gd name="T25" fmla="*/ 36 h 44"/>
                <a:gd name="T26" fmla="*/ 27 w 28"/>
                <a:gd name="T27" fmla="*/ 13 h 44"/>
                <a:gd name="T28" fmla="*/ 14 w 28"/>
                <a:gd name="T2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44">
                  <a:moveTo>
                    <a:pt x="14" y="0"/>
                  </a:moveTo>
                  <a:cubicBezTo>
                    <a:pt x="9" y="0"/>
                    <a:pt x="4" y="2"/>
                    <a:pt x="1" y="5"/>
                  </a:cubicBezTo>
                  <a:cubicBezTo>
                    <a:pt x="3" y="9"/>
                    <a:pt x="3" y="9"/>
                    <a:pt x="3" y="9"/>
                  </a:cubicBezTo>
                  <a:cubicBezTo>
                    <a:pt x="5" y="7"/>
                    <a:pt x="8" y="5"/>
                    <a:pt x="12" y="5"/>
                  </a:cubicBezTo>
                  <a:cubicBezTo>
                    <a:pt x="19" y="5"/>
                    <a:pt x="21" y="9"/>
                    <a:pt x="21" y="14"/>
                  </a:cubicBezTo>
                  <a:cubicBezTo>
                    <a:pt x="21" y="20"/>
                    <a:pt x="16" y="26"/>
                    <a:pt x="5" y="36"/>
                  </a:cubicBezTo>
                  <a:cubicBezTo>
                    <a:pt x="0" y="41"/>
                    <a:pt x="0" y="41"/>
                    <a:pt x="0" y="41"/>
                  </a:cubicBezTo>
                  <a:cubicBezTo>
                    <a:pt x="0" y="44"/>
                    <a:pt x="0" y="44"/>
                    <a:pt x="0" y="44"/>
                  </a:cubicBezTo>
                  <a:cubicBezTo>
                    <a:pt x="28" y="44"/>
                    <a:pt x="28" y="44"/>
                    <a:pt x="28" y="44"/>
                  </a:cubicBezTo>
                  <a:cubicBezTo>
                    <a:pt x="28" y="40"/>
                    <a:pt x="28" y="40"/>
                    <a:pt x="28" y="40"/>
                  </a:cubicBezTo>
                  <a:cubicBezTo>
                    <a:pt x="8" y="40"/>
                    <a:pt x="8" y="40"/>
                    <a:pt x="8" y="40"/>
                  </a:cubicBezTo>
                  <a:cubicBezTo>
                    <a:pt x="8" y="39"/>
                    <a:pt x="8" y="39"/>
                    <a:pt x="8" y="39"/>
                  </a:cubicBezTo>
                  <a:cubicBezTo>
                    <a:pt x="12" y="36"/>
                    <a:pt x="12" y="36"/>
                    <a:pt x="12" y="36"/>
                  </a:cubicBezTo>
                  <a:cubicBezTo>
                    <a:pt x="21" y="27"/>
                    <a:pt x="27" y="21"/>
                    <a:pt x="27" y="13"/>
                  </a:cubicBezTo>
                  <a:cubicBezTo>
                    <a:pt x="27" y="7"/>
                    <a:pt x="23" y="0"/>
                    <a:pt x="14"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60" name="Freeform 49"/>
            <p:cNvSpPr>
              <a:spLocks noEditPoints="1"/>
            </p:cNvSpPr>
            <p:nvPr/>
          </p:nvSpPr>
          <p:spPr bwMode="auto">
            <a:xfrm>
              <a:off x="1984375" y="2805113"/>
              <a:ext cx="58738" cy="53975"/>
            </a:xfrm>
            <a:custGeom>
              <a:avLst/>
              <a:gdLst>
                <a:gd name="T0" fmla="*/ 39 w 49"/>
                <a:gd name="T1" fmla="*/ 41 h 45"/>
                <a:gd name="T2" fmla="*/ 33 w 49"/>
                <a:gd name="T3" fmla="*/ 32 h 45"/>
                <a:gd name="T4" fmla="*/ 39 w 49"/>
                <a:gd name="T5" fmla="*/ 22 h 45"/>
                <a:gd name="T6" fmla="*/ 45 w 49"/>
                <a:gd name="T7" fmla="*/ 31 h 45"/>
                <a:gd name="T8" fmla="*/ 39 w 49"/>
                <a:gd name="T9" fmla="*/ 41 h 45"/>
                <a:gd name="T10" fmla="*/ 39 w 49"/>
                <a:gd name="T11" fmla="*/ 18 h 45"/>
                <a:gd name="T12" fmla="*/ 29 w 49"/>
                <a:gd name="T13" fmla="*/ 32 h 45"/>
                <a:gd name="T14" fmla="*/ 39 w 49"/>
                <a:gd name="T15" fmla="*/ 45 h 45"/>
                <a:gd name="T16" fmla="*/ 49 w 49"/>
                <a:gd name="T17" fmla="*/ 31 h 45"/>
                <a:gd name="T18" fmla="*/ 39 w 49"/>
                <a:gd name="T19" fmla="*/ 18 h 45"/>
                <a:gd name="T20" fmla="*/ 11 w 49"/>
                <a:gd name="T21" fmla="*/ 23 h 45"/>
                <a:gd name="T22" fmla="*/ 5 w 49"/>
                <a:gd name="T23" fmla="*/ 14 h 45"/>
                <a:gd name="T24" fmla="*/ 11 w 49"/>
                <a:gd name="T25" fmla="*/ 4 h 45"/>
                <a:gd name="T26" fmla="*/ 16 w 49"/>
                <a:gd name="T27" fmla="*/ 13 h 45"/>
                <a:gd name="T28" fmla="*/ 11 w 49"/>
                <a:gd name="T29" fmla="*/ 23 h 45"/>
                <a:gd name="T30" fmla="*/ 11 w 49"/>
                <a:gd name="T31" fmla="*/ 0 h 45"/>
                <a:gd name="T32" fmla="*/ 0 w 49"/>
                <a:gd name="T33" fmla="*/ 14 h 45"/>
                <a:gd name="T34" fmla="*/ 11 w 49"/>
                <a:gd name="T35" fmla="*/ 27 h 45"/>
                <a:gd name="T36" fmla="*/ 21 w 49"/>
                <a:gd name="T37" fmla="*/ 13 h 45"/>
                <a:gd name="T38" fmla="*/ 11 w 49"/>
                <a:gd name="T39" fmla="*/ 0 h 45"/>
                <a:gd name="T40" fmla="*/ 39 w 49"/>
                <a:gd name="T41" fmla="*/ 0 h 45"/>
                <a:gd name="T42" fmla="*/ 36 w 49"/>
                <a:gd name="T43" fmla="*/ 0 h 45"/>
                <a:gd name="T44" fmla="*/ 10 w 49"/>
                <a:gd name="T45" fmla="*/ 45 h 45"/>
                <a:gd name="T46" fmla="*/ 14 w 49"/>
                <a:gd name="T47" fmla="*/ 45 h 45"/>
                <a:gd name="T48" fmla="*/ 39 w 49"/>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45">
                  <a:moveTo>
                    <a:pt x="39" y="41"/>
                  </a:moveTo>
                  <a:cubicBezTo>
                    <a:pt x="35" y="41"/>
                    <a:pt x="33" y="37"/>
                    <a:pt x="33" y="32"/>
                  </a:cubicBezTo>
                  <a:cubicBezTo>
                    <a:pt x="33" y="26"/>
                    <a:pt x="35" y="22"/>
                    <a:pt x="39" y="22"/>
                  </a:cubicBezTo>
                  <a:cubicBezTo>
                    <a:pt x="43" y="22"/>
                    <a:pt x="45" y="26"/>
                    <a:pt x="45" y="31"/>
                  </a:cubicBezTo>
                  <a:cubicBezTo>
                    <a:pt x="45" y="37"/>
                    <a:pt x="43" y="41"/>
                    <a:pt x="39" y="41"/>
                  </a:cubicBezTo>
                  <a:moveTo>
                    <a:pt x="39" y="18"/>
                  </a:moveTo>
                  <a:cubicBezTo>
                    <a:pt x="34" y="18"/>
                    <a:pt x="29" y="23"/>
                    <a:pt x="29" y="32"/>
                  </a:cubicBezTo>
                  <a:cubicBezTo>
                    <a:pt x="29" y="41"/>
                    <a:pt x="34" y="45"/>
                    <a:pt x="39" y="45"/>
                  </a:cubicBezTo>
                  <a:cubicBezTo>
                    <a:pt x="45" y="45"/>
                    <a:pt x="49" y="40"/>
                    <a:pt x="49" y="31"/>
                  </a:cubicBezTo>
                  <a:cubicBezTo>
                    <a:pt x="49" y="23"/>
                    <a:pt x="45" y="18"/>
                    <a:pt x="39" y="18"/>
                  </a:cubicBezTo>
                  <a:moveTo>
                    <a:pt x="11" y="23"/>
                  </a:moveTo>
                  <a:cubicBezTo>
                    <a:pt x="7" y="23"/>
                    <a:pt x="5" y="19"/>
                    <a:pt x="5" y="14"/>
                  </a:cubicBezTo>
                  <a:cubicBezTo>
                    <a:pt x="5" y="8"/>
                    <a:pt x="7" y="4"/>
                    <a:pt x="11" y="4"/>
                  </a:cubicBezTo>
                  <a:cubicBezTo>
                    <a:pt x="15" y="4"/>
                    <a:pt x="16" y="8"/>
                    <a:pt x="16" y="13"/>
                  </a:cubicBezTo>
                  <a:cubicBezTo>
                    <a:pt x="16" y="19"/>
                    <a:pt x="15" y="23"/>
                    <a:pt x="11" y="23"/>
                  </a:cubicBezTo>
                  <a:moveTo>
                    <a:pt x="11" y="0"/>
                  </a:moveTo>
                  <a:cubicBezTo>
                    <a:pt x="5" y="0"/>
                    <a:pt x="0" y="5"/>
                    <a:pt x="0" y="14"/>
                  </a:cubicBezTo>
                  <a:cubicBezTo>
                    <a:pt x="0" y="23"/>
                    <a:pt x="5" y="27"/>
                    <a:pt x="11" y="27"/>
                  </a:cubicBezTo>
                  <a:cubicBezTo>
                    <a:pt x="16" y="27"/>
                    <a:pt x="21" y="22"/>
                    <a:pt x="21" y="13"/>
                  </a:cubicBezTo>
                  <a:cubicBezTo>
                    <a:pt x="21" y="5"/>
                    <a:pt x="17" y="0"/>
                    <a:pt x="11" y="0"/>
                  </a:cubicBezTo>
                  <a:moveTo>
                    <a:pt x="39" y="0"/>
                  </a:moveTo>
                  <a:cubicBezTo>
                    <a:pt x="36" y="0"/>
                    <a:pt x="36" y="0"/>
                    <a:pt x="36" y="0"/>
                  </a:cubicBezTo>
                  <a:cubicBezTo>
                    <a:pt x="10" y="45"/>
                    <a:pt x="10" y="45"/>
                    <a:pt x="10" y="45"/>
                  </a:cubicBezTo>
                  <a:cubicBezTo>
                    <a:pt x="14" y="45"/>
                    <a:pt x="14" y="45"/>
                    <a:pt x="14" y="45"/>
                  </a:cubicBezTo>
                  <a:cubicBezTo>
                    <a:pt x="39" y="0"/>
                    <a:pt x="39" y="0"/>
                    <a:pt x="39" y="0"/>
                  </a:cubicBezTo>
                </a:path>
              </a:pathLst>
            </a:custGeom>
            <a:solidFill>
              <a:srgbClr val="4594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61" name="Rectangle 50"/>
            <p:cNvSpPr>
              <a:spLocks noChangeArrowheads="1"/>
            </p:cNvSpPr>
            <p:nvPr/>
          </p:nvSpPr>
          <p:spPr bwMode="auto">
            <a:xfrm>
              <a:off x="2095500" y="2797175"/>
              <a:ext cx="269875" cy="22225"/>
            </a:xfrm>
            <a:prstGeom prst="rect">
              <a:avLst/>
            </a:prstGeom>
            <a:solidFill>
              <a:srgbClr val="4594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62" name="Rectangle 51"/>
            <p:cNvSpPr>
              <a:spLocks noChangeArrowheads="1"/>
            </p:cNvSpPr>
            <p:nvPr/>
          </p:nvSpPr>
          <p:spPr bwMode="auto">
            <a:xfrm>
              <a:off x="2095500" y="2797175"/>
              <a:ext cx="2698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63" name="Rectangle 52"/>
            <p:cNvSpPr>
              <a:spLocks noChangeArrowheads="1"/>
            </p:cNvSpPr>
            <p:nvPr/>
          </p:nvSpPr>
          <p:spPr bwMode="auto">
            <a:xfrm>
              <a:off x="2095500" y="2841625"/>
              <a:ext cx="100013" cy="20638"/>
            </a:xfrm>
            <a:prstGeom prst="rect">
              <a:avLst/>
            </a:prstGeom>
            <a:solidFill>
              <a:srgbClr val="4594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48" name="Rectangle 53"/>
            <p:cNvSpPr>
              <a:spLocks noChangeArrowheads="1"/>
            </p:cNvSpPr>
            <p:nvPr/>
          </p:nvSpPr>
          <p:spPr bwMode="auto">
            <a:xfrm>
              <a:off x="2095500" y="2841625"/>
              <a:ext cx="100013" cy="2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49" name="Freeform 54"/>
            <p:cNvSpPr>
              <a:spLocks/>
            </p:cNvSpPr>
            <p:nvPr/>
          </p:nvSpPr>
          <p:spPr bwMode="auto">
            <a:xfrm>
              <a:off x="2833688" y="2741613"/>
              <a:ext cx="33338" cy="53975"/>
            </a:xfrm>
            <a:custGeom>
              <a:avLst/>
              <a:gdLst>
                <a:gd name="T0" fmla="*/ 0 w 27"/>
                <a:gd name="T1" fmla="*/ 45 h 45"/>
                <a:gd name="T2" fmla="*/ 0 w 27"/>
                <a:gd name="T3" fmla="*/ 41 h 45"/>
                <a:gd name="T4" fmla="*/ 4 w 27"/>
                <a:gd name="T5" fmla="*/ 37 h 45"/>
                <a:gd name="T6" fmla="*/ 20 w 27"/>
                <a:gd name="T7" fmla="*/ 14 h 45"/>
                <a:gd name="T8" fmla="*/ 12 w 27"/>
                <a:gd name="T9" fmla="*/ 5 h 45"/>
                <a:gd name="T10" fmla="*/ 2 w 27"/>
                <a:gd name="T11" fmla="*/ 9 h 45"/>
                <a:gd name="T12" fmla="*/ 1 w 27"/>
                <a:gd name="T13" fmla="*/ 5 h 45"/>
                <a:gd name="T14" fmla="*/ 13 w 27"/>
                <a:gd name="T15" fmla="*/ 0 h 45"/>
                <a:gd name="T16" fmla="*/ 26 w 27"/>
                <a:gd name="T17" fmla="*/ 13 h 45"/>
                <a:gd name="T18" fmla="*/ 11 w 27"/>
                <a:gd name="T19" fmla="*/ 36 h 45"/>
                <a:gd name="T20" fmla="*/ 8 w 27"/>
                <a:gd name="T21" fmla="*/ 40 h 45"/>
                <a:gd name="T22" fmla="*/ 8 w 27"/>
                <a:gd name="T23" fmla="*/ 40 h 45"/>
                <a:gd name="T24" fmla="*/ 27 w 27"/>
                <a:gd name="T25" fmla="*/ 40 h 45"/>
                <a:gd name="T26" fmla="*/ 27 w 27"/>
                <a:gd name="T27" fmla="*/ 45 h 45"/>
                <a:gd name="T28" fmla="*/ 0 w 27"/>
                <a:gd name="T2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45">
                  <a:moveTo>
                    <a:pt x="0" y="45"/>
                  </a:moveTo>
                  <a:cubicBezTo>
                    <a:pt x="0" y="41"/>
                    <a:pt x="0" y="41"/>
                    <a:pt x="0" y="41"/>
                  </a:cubicBezTo>
                  <a:cubicBezTo>
                    <a:pt x="4" y="37"/>
                    <a:pt x="4" y="37"/>
                    <a:pt x="4" y="37"/>
                  </a:cubicBezTo>
                  <a:cubicBezTo>
                    <a:pt x="15" y="26"/>
                    <a:pt x="20" y="20"/>
                    <a:pt x="20" y="14"/>
                  </a:cubicBezTo>
                  <a:cubicBezTo>
                    <a:pt x="20" y="9"/>
                    <a:pt x="18" y="5"/>
                    <a:pt x="12" y="5"/>
                  </a:cubicBezTo>
                  <a:cubicBezTo>
                    <a:pt x="8" y="5"/>
                    <a:pt x="4" y="7"/>
                    <a:pt x="2" y="9"/>
                  </a:cubicBezTo>
                  <a:cubicBezTo>
                    <a:pt x="1" y="5"/>
                    <a:pt x="1" y="5"/>
                    <a:pt x="1" y="5"/>
                  </a:cubicBezTo>
                  <a:cubicBezTo>
                    <a:pt x="4" y="2"/>
                    <a:pt x="8" y="0"/>
                    <a:pt x="13" y="0"/>
                  </a:cubicBezTo>
                  <a:cubicBezTo>
                    <a:pt x="22" y="0"/>
                    <a:pt x="26" y="7"/>
                    <a:pt x="26" y="13"/>
                  </a:cubicBezTo>
                  <a:cubicBezTo>
                    <a:pt x="26" y="21"/>
                    <a:pt x="20" y="28"/>
                    <a:pt x="11" y="36"/>
                  </a:cubicBezTo>
                  <a:cubicBezTo>
                    <a:pt x="8" y="40"/>
                    <a:pt x="8" y="40"/>
                    <a:pt x="8" y="40"/>
                  </a:cubicBezTo>
                  <a:cubicBezTo>
                    <a:pt x="8" y="40"/>
                    <a:pt x="8" y="40"/>
                    <a:pt x="8" y="40"/>
                  </a:cubicBezTo>
                  <a:cubicBezTo>
                    <a:pt x="27" y="40"/>
                    <a:pt x="27" y="40"/>
                    <a:pt x="27" y="40"/>
                  </a:cubicBezTo>
                  <a:cubicBezTo>
                    <a:pt x="27" y="45"/>
                    <a:pt x="27" y="45"/>
                    <a:pt x="27" y="45"/>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0" name="Freeform 55"/>
            <p:cNvSpPr>
              <a:spLocks/>
            </p:cNvSpPr>
            <p:nvPr/>
          </p:nvSpPr>
          <p:spPr bwMode="auto">
            <a:xfrm>
              <a:off x="2878138" y="2743200"/>
              <a:ext cx="33338" cy="52388"/>
            </a:xfrm>
            <a:custGeom>
              <a:avLst/>
              <a:gdLst>
                <a:gd name="T0" fmla="*/ 21 w 21"/>
                <a:gd name="T1" fmla="*/ 0 h 33"/>
                <a:gd name="T2" fmla="*/ 21 w 21"/>
                <a:gd name="T3" fmla="*/ 3 h 33"/>
                <a:gd name="T4" fmla="*/ 7 w 21"/>
                <a:gd name="T5" fmla="*/ 33 h 33"/>
                <a:gd name="T6" fmla="*/ 3 w 21"/>
                <a:gd name="T7" fmla="*/ 33 h 33"/>
                <a:gd name="T8" fmla="*/ 17 w 21"/>
                <a:gd name="T9" fmla="*/ 4 h 33"/>
                <a:gd name="T10" fmla="*/ 17 w 21"/>
                <a:gd name="T11" fmla="*/ 4 h 33"/>
                <a:gd name="T12" fmla="*/ 0 w 21"/>
                <a:gd name="T13" fmla="*/ 4 h 33"/>
                <a:gd name="T14" fmla="*/ 0 w 21"/>
                <a:gd name="T15" fmla="*/ 0 h 33"/>
                <a:gd name="T16" fmla="*/ 21 w 21"/>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3">
                  <a:moveTo>
                    <a:pt x="21" y="0"/>
                  </a:moveTo>
                  <a:lnTo>
                    <a:pt x="21" y="3"/>
                  </a:lnTo>
                  <a:lnTo>
                    <a:pt x="7" y="33"/>
                  </a:lnTo>
                  <a:lnTo>
                    <a:pt x="3" y="33"/>
                  </a:lnTo>
                  <a:lnTo>
                    <a:pt x="17" y="4"/>
                  </a:lnTo>
                  <a:lnTo>
                    <a:pt x="17" y="4"/>
                  </a:lnTo>
                  <a:lnTo>
                    <a:pt x="0" y="4"/>
                  </a:lnTo>
                  <a:lnTo>
                    <a:pt x="0" y="0"/>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1" name="Freeform 56"/>
            <p:cNvSpPr>
              <a:spLocks noEditPoints="1"/>
            </p:cNvSpPr>
            <p:nvPr/>
          </p:nvSpPr>
          <p:spPr bwMode="auto">
            <a:xfrm>
              <a:off x="2921000" y="2741613"/>
              <a:ext cx="58738" cy="53975"/>
            </a:xfrm>
            <a:custGeom>
              <a:avLst/>
              <a:gdLst>
                <a:gd name="T0" fmla="*/ 20 w 49"/>
                <a:gd name="T1" fmla="*/ 13 h 45"/>
                <a:gd name="T2" fmla="*/ 10 w 49"/>
                <a:gd name="T3" fmla="*/ 27 h 45"/>
                <a:gd name="T4" fmla="*/ 0 w 49"/>
                <a:gd name="T5" fmla="*/ 14 h 45"/>
                <a:gd name="T6" fmla="*/ 10 w 49"/>
                <a:gd name="T7" fmla="*/ 0 h 45"/>
                <a:gd name="T8" fmla="*/ 20 w 49"/>
                <a:gd name="T9" fmla="*/ 13 h 45"/>
                <a:gd name="T10" fmla="*/ 4 w 49"/>
                <a:gd name="T11" fmla="*/ 14 h 45"/>
                <a:gd name="T12" fmla="*/ 10 w 49"/>
                <a:gd name="T13" fmla="*/ 24 h 45"/>
                <a:gd name="T14" fmla="*/ 16 w 49"/>
                <a:gd name="T15" fmla="*/ 14 h 45"/>
                <a:gd name="T16" fmla="*/ 10 w 49"/>
                <a:gd name="T17" fmla="*/ 4 h 45"/>
                <a:gd name="T18" fmla="*/ 4 w 49"/>
                <a:gd name="T19" fmla="*/ 14 h 45"/>
                <a:gd name="T20" fmla="*/ 9 w 49"/>
                <a:gd name="T21" fmla="*/ 45 h 45"/>
                <a:gd name="T22" fmla="*/ 35 w 49"/>
                <a:gd name="T23" fmla="*/ 0 h 45"/>
                <a:gd name="T24" fmla="*/ 39 w 49"/>
                <a:gd name="T25" fmla="*/ 0 h 45"/>
                <a:gd name="T26" fmla="*/ 13 w 49"/>
                <a:gd name="T27" fmla="*/ 45 h 45"/>
                <a:gd name="T28" fmla="*/ 9 w 49"/>
                <a:gd name="T29" fmla="*/ 45 h 45"/>
                <a:gd name="T30" fmla="*/ 49 w 49"/>
                <a:gd name="T31" fmla="*/ 31 h 45"/>
                <a:gd name="T32" fmla="*/ 38 w 49"/>
                <a:gd name="T33" fmla="*/ 45 h 45"/>
                <a:gd name="T34" fmla="*/ 28 w 49"/>
                <a:gd name="T35" fmla="*/ 32 h 45"/>
                <a:gd name="T36" fmla="*/ 39 w 49"/>
                <a:gd name="T37" fmla="*/ 18 h 45"/>
                <a:gd name="T38" fmla="*/ 49 w 49"/>
                <a:gd name="T39" fmla="*/ 31 h 45"/>
                <a:gd name="T40" fmla="*/ 33 w 49"/>
                <a:gd name="T41" fmla="*/ 32 h 45"/>
                <a:gd name="T42" fmla="*/ 38 w 49"/>
                <a:gd name="T43" fmla="*/ 42 h 45"/>
                <a:gd name="T44" fmla="*/ 44 w 49"/>
                <a:gd name="T45" fmla="*/ 32 h 45"/>
                <a:gd name="T46" fmla="*/ 38 w 49"/>
                <a:gd name="T47" fmla="*/ 22 h 45"/>
                <a:gd name="T48" fmla="*/ 33 w 49"/>
                <a:gd name="T4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45">
                  <a:moveTo>
                    <a:pt x="20" y="13"/>
                  </a:moveTo>
                  <a:cubicBezTo>
                    <a:pt x="20" y="23"/>
                    <a:pt x="16" y="27"/>
                    <a:pt x="10" y="27"/>
                  </a:cubicBezTo>
                  <a:cubicBezTo>
                    <a:pt x="4" y="27"/>
                    <a:pt x="0" y="23"/>
                    <a:pt x="0" y="14"/>
                  </a:cubicBezTo>
                  <a:cubicBezTo>
                    <a:pt x="0" y="5"/>
                    <a:pt x="4" y="0"/>
                    <a:pt x="10" y="0"/>
                  </a:cubicBezTo>
                  <a:cubicBezTo>
                    <a:pt x="16" y="0"/>
                    <a:pt x="20" y="5"/>
                    <a:pt x="20" y="13"/>
                  </a:cubicBezTo>
                  <a:close/>
                  <a:moveTo>
                    <a:pt x="4" y="14"/>
                  </a:moveTo>
                  <a:cubicBezTo>
                    <a:pt x="4" y="19"/>
                    <a:pt x="6" y="24"/>
                    <a:pt x="10" y="24"/>
                  </a:cubicBezTo>
                  <a:cubicBezTo>
                    <a:pt x="14" y="24"/>
                    <a:pt x="16" y="19"/>
                    <a:pt x="16" y="14"/>
                  </a:cubicBezTo>
                  <a:cubicBezTo>
                    <a:pt x="16" y="8"/>
                    <a:pt x="14" y="4"/>
                    <a:pt x="10" y="4"/>
                  </a:cubicBezTo>
                  <a:cubicBezTo>
                    <a:pt x="6" y="4"/>
                    <a:pt x="4" y="8"/>
                    <a:pt x="4" y="14"/>
                  </a:cubicBezTo>
                  <a:close/>
                  <a:moveTo>
                    <a:pt x="9" y="45"/>
                  </a:moveTo>
                  <a:cubicBezTo>
                    <a:pt x="35" y="0"/>
                    <a:pt x="35" y="0"/>
                    <a:pt x="35" y="0"/>
                  </a:cubicBezTo>
                  <a:cubicBezTo>
                    <a:pt x="39" y="0"/>
                    <a:pt x="39" y="0"/>
                    <a:pt x="39" y="0"/>
                  </a:cubicBezTo>
                  <a:cubicBezTo>
                    <a:pt x="13" y="45"/>
                    <a:pt x="13" y="45"/>
                    <a:pt x="13" y="45"/>
                  </a:cubicBezTo>
                  <a:lnTo>
                    <a:pt x="9" y="45"/>
                  </a:lnTo>
                  <a:close/>
                  <a:moveTo>
                    <a:pt x="49" y="31"/>
                  </a:moveTo>
                  <a:cubicBezTo>
                    <a:pt x="49" y="41"/>
                    <a:pt x="44" y="45"/>
                    <a:pt x="38" y="45"/>
                  </a:cubicBezTo>
                  <a:cubicBezTo>
                    <a:pt x="33" y="45"/>
                    <a:pt x="28" y="41"/>
                    <a:pt x="28" y="32"/>
                  </a:cubicBezTo>
                  <a:cubicBezTo>
                    <a:pt x="28" y="23"/>
                    <a:pt x="33" y="18"/>
                    <a:pt x="39" y="18"/>
                  </a:cubicBezTo>
                  <a:cubicBezTo>
                    <a:pt x="45" y="18"/>
                    <a:pt x="49" y="23"/>
                    <a:pt x="49" y="31"/>
                  </a:cubicBezTo>
                  <a:close/>
                  <a:moveTo>
                    <a:pt x="33" y="32"/>
                  </a:moveTo>
                  <a:cubicBezTo>
                    <a:pt x="33" y="37"/>
                    <a:pt x="35" y="42"/>
                    <a:pt x="38" y="42"/>
                  </a:cubicBezTo>
                  <a:cubicBezTo>
                    <a:pt x="42" y="42"/>
                    <a:pt x="44" y="37"/>
                    <a:pt x="44" y="32"/>
                  </a:cubicBezTo>
                  <a:cubicBezTo>
                    <a:pt x="44" y="26"/>
                    <a:pt x="43" y="22"/>
                    <a:pt x="38" y="22"/>
                  </a:cubicBezTo>
                  <a:cubicBezTo>
                    <a:pt x="35" y="22"/>
                    <a:pt x="33" y="26"/>
                    <a:pt x="3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2" name="Rectangle 57"/>
            <p:cNvSpPr>
              <a:spLocks noChangeArrowheads="1"/>
            </p:cNvSpPr>
            <p:nvPr/>
          </p:nvSpPr>
          <p:spPr bwMode="auto">
            <a:xfrm>
              <a:off x="3032125" y="2735263"/>
              <a:ext cx="269875" cy="206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3" name="Rectangle 58"/>
            <p:cNvSpPr>
              <a:spLocks noChangeArrowheads="1"/>
            </p:cNvSpPr>
            <p:nvPr/>
          </p:nvSpPr>
          <p:spPr bwMode="auto">
            <a:xfrm>
              <a:off x="3032125" y="2779713"/>
              <a:ext cx="200025" cy="206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4" name="Rectangle 59"/>
            <p:cNvSpPr>
              <a:spLocks noChangeArrowheads="1"/>
            </p:cNvSpPr>
            <p:nvPr/>
          </p:nvSpPr>
          <p:spPr bwMode="auto">
            <a:xfrm>
              <a:off x="3032125" y="2847975"/>
              <a:ext cx="269875"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5" name="Rectangle 60"/>
            <p:cNvSpPr>
              <a:spLocks noChangeArrowheads="1"/>
            </p:cNvSpPr>
            <p:nvPr/>
          </p:nvSpPr>
          <p:spPr bwMode="auto">
            <a:xfrm>
              <a:off x="3032125" y="2876550"/>
              <a:ext cx="26987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6" name="Rectangle 61"/>
            <p:cNvSpPr>
              <a:spLocks noChangeArrowheads="1"/>
            </p:cNvSpPr>
            <p:nvPr/>
          </p:nvSpPr>
          <p:spPr bwMode="auto">
            <a:xfrm>
              <a:off x="3032125" y="2906713"/>
              <a:ext cx="269875"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7" name="Rectangle 62"/>
            <p:cNvSpPr>
              <a:spLocks noChangeArrowheads="1"/>
            </p:cNvSpPr>
            <p:nvPr/>
          </p:nvSpPr>
          <p:spPr bwMode="auto">
            <a:xfrm>
              <a:off x="3032125" y="2935288"/>
              <a:ext cx="269875"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58" name="Rectangle 63"/>
            <p:cNvSpPr>
              <a:spLocks noChangeArrowheads="1"/>
            </p:cNvSpPr>
            <p:nvPr/>
          </p:nvSpPr>
          <p:spPr bwMode="auto">
            <a:xfrm>
              <a:off x="3032125" y="2963863"/>
              <a:ext cx="100013"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nvGrpSpPr>
          <p:cNvPr id="1354" name="Group 1353"/>
          <p:cNvGrpSpPr/>
          <p:nvPr/>
        </p:nvGrpSpPr>
        <p:grpSpPr>
          <a:xfrm>
            <a:off x="4291269" y="4227400"/>
            <a:ext cx="1923777" cy="1404739"/>
            <a:chOff x="4291013" y="4627563"/>
            <a:chExt cx="1924050" cy="1404938"/>
          </a:xfrm>
        </p:grpSpPr>
        <p:sp>
          <p:nvSpPr>
            <p:cNvPr id="1259" name="Freeform 64"/>
            <p:cNvSpPr>
              <a:spLocks/>
            </p:cNvSpPr>
            <p:nvPr/>
          </p:nvSpPr>
          <p:spPr bwMode="auto">
            <a:xfrm>
              <a:off x="4291013" y="4627563"/>
              <a:ext cx="1924050" cy="1404938"/>
            </a:xfrm>
            <a:custGeom>
              <a:avLst/>
              <a:gdLst>
                <a:gd name="T0" fmla="*/ 1550 w 1611"/>
                <a:gd name="T1" fmla="*/ 0 h 1175"/>
                <a:gd name="T2" fmla="*/ 61 w 1611"/>
                <a:gd name="T3" fmla="*/ 0 h 1175"/>
                <a:gd name="T4" fmla="*/ 0 w 1611"/>
                <a:gd name="T5" fmla="*/ 61 h 1175"/>
                <a:gd name="T6" fmla="*/ 0 w 1611"/>
                <a:gd name="T7" fmla="*/ 1114 h 1175"/>
                <a:gd name="T8" fmla="*/ 61 w 1611"/>
                <a:gd name="T9" fmla="*/ 1175 h 1175"/>
                <a:gd name="T10" fmla="*/ 1550 w 1611"/>
                <a:gd name="T11" fmla="*/ 1175 h 1175"/>
                <a:gd name="T12" fmla="*/ 1611 w 1611"/>
                <a:gd name="T13" fmla="*/ 1114 h 1175"/>
                <a:gd name="T14" fmla="*/ 1611 w 1611"/>
                <a:gd name="T15" fmla="*/ 61 h 1175"/>
                <a:gd name="T16" fmla="*/ 1550 w 1611"/>
                <a:gd name="T17" fmla="*/ 0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1" h="1175">
                  <a:moveTo>
                    <a:pt x="1550" y="0"/>
                  </a:moveTo>
                  <a:cubicBezTo>
                    <a:pt x="61" y="0"/>
                    <a:pt x="61" y="0"/>
                    <a:pt x="61" y="0"/>
                  </a:cubicBezTo>
                  <a:cubicBezTo>
                    <a:pt x="10" y="0"/>
                    <a:pt x="0" y="10"/>
                    <a:pt x="0" y="61"/>
                  </a:cubicBezTo>
                  <a:cubicBezTo>
                    <a:pt x="0" y="1114"/>
                    <a:pt x="0" y="1114"/>
                    <a:pt x="0" y="1114"/>
                  </a:cubicBezTo>
                  <a:cubicBezTo>
                    <a:pt x="0" y="1165"/>
                    <a:pt x="10" y="1175"/>
                    <a:pt x="61" y="1175"/>
                  </a:cubicBezTo>
                  <a:cubicBezTo>
                    <a:pt x="1550" y="1175"/>
                    <a:pt x="1550" y="1175"/>
                    <a:pt x="1550" y="1175"/>
                  </a:cubicBezTo>
                  <a:cubicBezTo>
                    <a:pt x="1601" y="1175"/>
                    <a:pt x="1611" y="1165"/>
                    <a:pt x="1611" y="1114"/>
                  </a:cubicBezTo>
                  <a:cubicBezTo>
                    <a:pt x="1611" y="61"/>
                    <a:pt x="1611" y="61"/>
                    <a:pt x="1611" y="61"/>
                  </a:cubicBezTo>
                  <a:cubicBezTo>
                    <a:pt x="1611" y="10"/>
                    <a:pt x="1601" y="0"/>
                    <a:pt x="1550" y="0"/>
                  </a:cubicBezTo>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0" name="Rectangle 65"/>
            <p:cNvSpPr>
              <a:spLocks noChangeArrowheads="1"/>
            </p:cNvSpPr>
            <p:nvPr/>
          </p:nvSpPr>
          <p:spPr bwMode="auto">
            <a:xfrm>
              <a:off x="4337050" y="4786313"/>
              <a:ext cx="1831975" cy="118110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1" name="Rectangle 66"/>
            <p:cNvSpPr>
              <a:spLocks noChangeArrowheads="1"/>
            </p:cNvSpPr>
            <p:nvPr/>
          </p:nvSpPr>
          <p:spPr bwMode="auto">
            <a:xfrm>
              <a:off x="4337050" y="4786313"/>
              <a:ext cx="1831975"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2" name="Freeform 67"/>
            <p:cNvSpPr>
              <a:spLocks noEditPoints="1"/>
            </p:cNvSpPr>
            <p:nvPr/>
          </p:nvSpPr>
          <p:spPr bwMode="auto">
            <a:xfrm>
              <a:off x="4606925" y="5313363"/>
              <a:ext cx="357188" cy="336550"/>
            </a:xfrm>
            <a:custGeom>
              <a:avLst/>
              <a:gdLst>
                <a:gd name="T0" fmla="*/ 72 w 225"/>
                <a:gd name="T1" fmla="*/ 194 h 212"/>
                <a:gd name="T2" fmla="*/ 21 w 225"/>
                <a:gd name="T3" fmla="*/ 106 h 212"/>
                <a:gd name="T4" fmla="*/ 72 w 225"/>
                <a:gd name="T5" fmla="*/ 18 h 212"/>
                <a:gd name="T6" fmla="*/ 173 w 225"/>
                <a:gd name="T7" fmla="*/ 18 h 212"/>
                <a:gd name="T8" fmla="*/ 224 w 225"/>
                <a:gd name="T9" fmla="*/ 106 h 212"/>
                <a:gd name="T10" fmla="*/ 173 w 225"/>
                <a:gd name="T11" fmla="*/ 194 h 212"/>
                <a:gd name="T12" fmla="*/ 72 w 225"/>
                <a:gd name="T13" fmla="*/ 194 h 212"/>
                <a:gd name="T14" fmla="*/ 173 w 225"/>
                <a:gd name="T15" fmla="*/ 0 h 212"/>
                <a:gd name="T16" fmla="*/ 61 w 225"/>
                <a:gd name="T17" fmla="*/ 0 h 212"/>
                <a:gd name="T18" fmla="*/ 0 w 225"/>
                <a:gd name="T19" fmla="*/ 106 h 212"/>
                <a:gd name="T20" fmla="*/ 61 w 225"/>
                <a:gd name="T21" fmla="*/ 212 h 212"/>
                <a:gd name="T22" fmla="*/ 67 w 225"/>
                <a:gd name="T23" fmla="*/ 212 h 212"/>
                <a:gd name="T24" fmla="*/ 173 w 225"/>
                <a:gd name="T25" fmla="*/ 212 h 212"/>
                <a:gd name="T26" fmla="*/ 168 w 225"/>
                <a:gd name="T27" fmla="*/ 203 h 212"/>
                <a:gd name="T28" fmla="*/ 225 w 225"/>
                <a:gd name="T29" fmla="*/ 106 h 212"/>
                <a:gd name="T30" fmla="*/ 168 w 225"/>
                <a:gd name="T31" fmla="*/ 9 h 212"/>
                <a:gd name="T32" fmla="*/ 173 w 225"/>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12">
                  <a:moveTo>
                    <a:pt x="72" y="194"/>
                  </a:moveTo>
                  <a:lnTo>
                    <a:pt x="21" y="106"/>
                  </a:lnTo>
                  <a:lnTo>
                    <a:pt x="72" y="18"/>
                  </a:lnTo>
                  <a:lnTo>
                    <a:pt x="173" y="18"/>
                  </a:lnTo>
                  <a:lnTo>
                    <a:pt x="224" y="106"/>
                  </a:lnTo>
                  <a:lnTo>
                    <a:pt x="173" y="194"/>
                  </a:lnTo>
                  <a:lnTo>
                    <a:pt x="72" y="194"/>
                  </a:lnTo>
                  <a:close/>
                  <a:moveTo>
                    <a:pt x="173" y="0"/>
                  </a:moveTo>
                  <a:lnTo>
                    <a:pt x="61" y="0"/>
                  </a:lnTo>
                  <a:lnTo>
                    <a:pt x="0" y="106"/>
                  </a:lnTo>
                  <a:lnTo>
                    <a:pt x="61" y="212"/>
                  </a:lnTo>
                  <a:lnTo>
                    <a:pt x="67" y="212"/>
                  </a:lnTo>
                  <a:lnTo>
                    <a:pt x="173" y="212"/>
                  </a:lnTo>
                  <a:lnTo>
                    <a:pt x="168" y="203"/>
                  </a:lnTo>
                  <a:lnTo>
                    <a:pt x="225" y="106"/>
                  </a:lnTo>
                  <a:lnTo>
                    <a:pt x="168" y="9"/>
                  </a:lnTo>
                  <a:lnTo>
                    <a:pt x="173" y="0"/>
                  </a:lnTo>
                  <a:close/>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3" name="Freeform 68"/>
            <p:cNvSpPr>
              <a:spLocks noEditPoints="1"/>
            </p:cNvSpPr>
            <p:nvPr/>
          </p:nvSpPr>
          <p:spPr bwMode="auto">
            <a:xfrm>
              <a:off x="4606925" y="5313363"/>
              <a:ext cx="357188" cy="336550"/>
            </a:xfrm>
            <a:custGeom>
              <a:avLst/>
              <a:gdLst>
                <a:gd name="T0" fmla="*/ 72 w 225"/>
                <a:gd name="T1" fmla="*/ 194 h 212"/>
                <a:gd name="T2" fmla="*/ 21 w 225"/>
                <a:gd name="T3" fmla="*/ 106 h 212"/>
                <a:gd name="T4" fmla="*/ 72 w 225"/>
                <a:gd name="T5" fmla="*/ 18 h 212"/>
                <a:gd name="T6" fmla="*/ 173 w 225"/>
                <a:gd name="T7" fmla="*/ 18 h 212"/>
                <a:gd name="T8" fmla="*/ 224 w 225"/>
                <a:gd name="T9" fmla="*/ 106 h 212"/>
                <a:gd name="T10" fmla="*/ 173 w 225"/>
                <a:gd name="T11" fmla="*/ 194 h 212"/>
                <a:gd name="T12" fmla="*/ 72 w 225"/>
                <a:gd name="T13" fmla="*/ 194 h 212"/>
                <a:gd name="T14" fmla="*/ 173 w 225"/>
                <a:gd name="T15" fmla="*/ 0 h 212"/>
                <a:gd name="T16" fmla="*/ 61 w 225"/>
                <a:gd name="T17" fmla="*/ 0 h 212"/>
                <a:gd name="T18" fmla="*/ 0 w 225"/>
                <a:gd name="T19" fmla="*/ 106 h 212"/>
                <a:gd name="T20" fmla="*/ 61 w 225"/>
                <a:gd name="T21" fmla="*/ 212 h 212"/>
                <a:gd name="T22" fmla="*/ 67 w 225"/>
                <a:gd name="T23" fmla="*/ 212 h 212"/>
                <a:gd name="T24" fmla="*/ 173 w 225"/>
                <a:gd name="T25" fmla="*/ 212 h 212"/>
                <a:gd name="T26" fmla="*/ 168 w 225"/>
                <a:gd name="T27" fmla="*/ 203 h 212"/>
                <a:gd name="T28" fmla="*/ 225 w 225"/>
                <a:gd name="T29" fmla="*/ 106 h 212"/>
                <a:gd name="T30" fmla="*/ 168 w 225"/>
                <a:gd name="T31" fmla="*/ 9 h 212"/>
                <a:gd name="T32" fmla="*/ 173 w 225"/>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12">
                  <a:moveTo>
                    <a:pt x="72" y="194"/>
                  </a:moveTo>
                  <a:lnTo>
                    <a:pt x="21" y="106"/>
                  </a:lnTo>
                  <a:lnTo>
                    <a:pt x="72" y="18"/>
                  </a:lnTo>
                  <a:lnTo>
                    <a:pt x="173" y="18"/>
                  </a:lnTo>
                  <a:lnTo>
                    <a:pt x="224" y="106"/>
                  </a:lnTo>
                  <a:lnTo>
                    <a:pt x="173" y="194"/>
                  </a:lnTo>
                  <a:lnTo>
                    <a:pt x="72" y="194"/>
                  </a:lnTo>
                  <a:moveTo>
                    <a:pt x="173" y="0"/>
                  </a:moveTo>
                  <a:lnTo>
                    <a:pt x="61" y="0"/>
                  </a:lnTo>
                  <a:lnTo>
                    <a:pt x="0" y="106"/>
                  </a:lnTo>
                  <a:lnTo>
                    <a:pt x="61" y="212"/>
                  </a:lnTo>
                  <a:lnTo>
                    <a:pt x="67" y="212"/>
                  </a:lnTo>
                  <a:lnTo>
                    <a:pt x="173" y="212"/>
                  </a:lnTo>
                  <a:lnTo>
                    <a:pt x="168" y="203"/>
                  </a:lnTo>
                  <a:lnTo>
                    <a:pt x="225" y="106"/>
                  </a:lnTo>
                  <a:lnTo>
                    <a:pt x="168" y="9"/>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4" name="Freeform 69"/>
            <p:cNvSpPr>
              <a:spLocks noEditPoints="1"/>
            </p:cNvSpPr>
            <p:nvPr/>
          </p:nvSpPr>
          <p:spPr bwMode="auto">
            <a:xfrm>
              <a:off x="4873625" y="5481638"/>
              <a:ext cx="388938" cy="320675"/>
            </a:xfrm>
            <a:custGeom>
              <a:avLst/>
              <a:gdLst>
                <a:gd name="T0" fmla="*/ 72 w 245"/>
                <a:gd name="T1" fmla="*/ 184 h 202"/>
                <a:gd name="T2" fmla="*/ 21 w 245"/>
                <a:gd name="T3" fmla="*/ 97 h 202"/>
                <a:gd name="T4" fmla="*/ 72 w 245"/>
                <a:gd name="T5" fmla="*/ 9 h 202"/>
                <a:gd name="T6" fmla="*/ 173 w 245"/>
                <a:gd name="T7" fmla="*/ 9 h 202"/>
                <a:gd name="T8" fmla="*/ 224 w 245"/>
                <a:gd name="T9" fmla="*/ 97 h 202"/>
                <a:gd name="T10" fmla="*/ 173 w 245"/>
                <a:gd name="T11" fmla="*/ 184 h 202"/>
                <a:gd name="T12" fmla="*/ 72 w 245"/>
                <a:gd name="T13" fmla="*/ 184 h 202"/>
                <a:gd name="T14" fmla="*/ 57 w 245"/>
                <a:gd name="T15" fmla="*/ 0 h 202"/>
                <a:gd name="T16" fmla="*/ 0 w 245"/>
                <a:gd name="T17" fmla="*/ 97 h 202"/>
                <a:gd name="T18" fmla="*/ 5 w 245"/>
                <a:gd name="T19" fmla="*/ 106 h 202"/>
                <a:gd name="T20" fmla="*/ 61 w 245"/>
                <a:gd name="T21" fmla="*/ 202 h 202"/>
                <a:gd name="T22" fmla="*/ 66 w 245"/>
                <a:gd name="T23" fmla="*/ 202 h 202"/>
                <a:gd name="T24" fmla="*/ 184 w 245"/>
                <a:gd name="T25" fmla="*/ 202 h 202"/>
                <a:gd name="T26" fmla="*/ 245 w 245"/>
                <a:gd name="T27" fmla="*/ 97 h 202"/>
                <a:gd name="T28" fmla="*/ 188 w 245"/>
                <a:gd name="T29" fmla="*/ 0 h 202"/>
                <a:gd name="T30" fmla="*/ 184 w 245"/>
                <a:gd name="T31" fmla="*/ 9 h 202"/>
                <a:gd name="T32" fmla="*/ 66 w 245"/>
                <a:gd name="T33" fmla="*/ 9 h 202"/>
                <a:gd name="T34" fmla="*/ 61 w 245"/>
                <a:gd name="T35" fmla="*/ 9 h 202"/>
                <a:gd name="T36" fmla="*/ 57 w 245"/>
                <a:gd name="T3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202">
                  <a:moveTo>
                    <a:pt x="72" y="184"/>
                  </a:moveTo>
                  <a:lnTo>
                    <a:pt x="21" y="97"/>
                  </a:lnTo>
                  <a:lnTo>
                    <a:pt x="72" y="9"/>
                  </a:lnTo>
                  <a:lnTo>
                    <a:pt x="173" y="9"/>
                  </a:lnTo>
                  <a:lnTo>
                    <a:pt x="224" y="97"/>
                  </a:lnTo>
                  <a:lnTo>
                    <a:pt x="173" y="184"/>
                  </a:lnTo>
                  <a:lnTo>
                    <a:pt x="72" y="184"/>
                  </a:lnTo>
                  <a:close/>
                  <a:moveTo>
                    <a:pt x="57" y="0"/>
                  </a:moveTo>
                  <a:lnTo>
                    <a:pt x="0" y="97"/>
                  </a:lnTo>
                  <a:lnTo>
                    <a:pt x="5" y="106"/>
                  </a:lnTo>
                  <a:lnTo>
                    <a:pt x="61" y="202"/>
                  </a:lnTo>
                  <a:lnTo>
                    <a:pt x="66" y="202"/>
                  </a:lnTo>
                  <a:lnTo>
                    <a:pt x="184" y="202"/>
                  </a:lnTo>
                  <a:lnTo>
                    <a:pt x="245" y="97"/>
                  </a:lnTo>
                  <a:lnTo>
                    <a:pt x="188" y="0"/>
                  </a:lnTo>
                  <a:lnTo>
                    <a:pt x="184" y="9"/>
                  </a:lnTo>
                  <a:lnTo>
                    <a:pt x="66" y="9"/>
                  </a:lnTo>
                  <a:lnTo>
                    <a:pt x="61" y="9"/>
                  </a:lnTo>
                  <a:lnTo>
                    <a:pt x="57" y="0"/>
                  </a:lnTo>
                  <a:close/>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5" name="Freeform 70"/>
            <p:cNvSpPr>
              <a:spLocks noEditPoints="1"/>
            </p:cNvSpPr>
            <p:nvPr/>
          </p:nvSpPr>
          <p:spPr bwMode="auto">
            <a:xfrm>
              <a:off x="4873625" y="5481638"/>
              <a:ext cx="388938" cy="320675"/>
            </a:xfrm>
            <a:custGeom>
              <a:avLst/>
              <a:gdLst>
                <a:gd name="T0" fmla="*/ 72 w 245"/>
                <a:gd name="T1" fmla="*/ 184 h 202"/>
                <a:gd name="T2" fmla="*/ 21 w 245"/>
                <a:gd name="T3" fmla="*/ 97 h 202"/>
                <a:gd name="T4" fmla="*/ 72 w 245"/>
                <a:gd name="T5" fmla="*/ 9 h 202"/>
                <a:gd name="T6" fmla="*/ 173 w 245"/>
                <a:gd name="T7" fmla="*/ 9 h 202"/>
                <a:gd name="T8" fmla="*/ 224 w 245"/>
                <a:gd name="T9" fmla="*/ 97 h 202"/>
                <a:gd name="T10" fmla="*/ 173 w 245"/>
                <a:gd name="T11" fmla="*/ 184 h 202"/>
                <a:gd name="T12" fmla="*/ 72 w 245"/>
                <a:gd name="T13" fmla="*/ 184 h 202"/>
                <a:gd name="T14" fmla="*/ 57 w 245"/>
                <a:gd name="T15" fmla="*/ 0 h 202"/>
                <a:gd name="T16" fmla="*/ 0 w 245"/>
                <a:gd name="T17" fmla="*/ 97 h 202"/>
                <a:gd name="T18" fmla="*/ 5 w 245"/>
                <a:gd name="T19" fmla="*/ 106 h 202"/>
                <a:gd name="T20" fmla="*/ 61 w 245"/>
                <a:gd name="T21" fmla="*/ 202 h 202"/>
                <a:gd name="T22" fmla="*/ 66 w 245"/>
                <a:gd name="T23" fmla="*/ 202 h 202"/>
                <a:gd name="T24" fmla="*/ 184 w 245"/>
                <a:gd name="T25" fmla="*/ 202 h 202"/>
                <a:gd name="T26" fmla="*/ 245 w 245"/>
                <a:gd name="T27" fmla="*/ 97 h 202"/>
                <a:gd name="T28" fmla="*/ 188 w 245"/>
                <a:gd name="T29" fmla="*/ 0 h 202"/>
                <a:gd name="T30" fmla="*/ 184 w 245"/>
                <a:gd name="T31" fmla="*/ 9 h 202"/>
                <a:gd name="T32" fmla="*/ 66 w 245"/>
                <a:gd name="T33" fmla="*/ 9 h 202"/>
                <a:gd name="T34" fmla="*/ 61 w 245"/>
                <a:gd name="T35" fmla="*/ 9 h 202"/>
                <a:gd name="T36" fmla="*/ 57 w 245"/>
                <a:gd name="T3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202">
                  <a:moveTo>
                    <a:pt x="72" y="184"/>
                  </a:moveTo>
                  <a:lnTo>
                    <a:pt x="21" y="97"/>
                  </a:lnTo>
                  <a:lnTo>
                    <a:pt x="72" y="9"/>
                  </a:lnTo>
                  <a:lnTo>
                    <a:pt x="173" y="9"/>
                  </a:lnTo>
                  <a:lnTo>
                    <a:pt x="224" y="97"/>
                  </a:lnTo>
                  <a:lnTo>
                    <a:pt x="173" y="184"/>
                  </a:lnTo>
                  <a:lnTo>
                    <a:pt x="72" y="184"/>
                  </a:lnTo>
                  <a:moveTo>
                    <a:pt x="57" y="0"/>
                  </a:moveTo>
                  <a:lnTo>
                    <a:pt x="0" y="97"/>
                  </a:lnTo>
                  <a:lnTo>
                    <a:pt x="5" y="106"/>
                  </a:lnTo>
                  <a:lnTo>
                    <a:pt x="61" y="202"/>
                  </a:lnTo>
                  <a:lnTo>
                    <a:pt x="66" y="202"/>
                  </a:lnTo>
                  <a:lnTo>
                    <a:pt x="184" y="202"/>
                  </a:lnTo>
                  <a:lnTo>
                    <a:pt x="245" y="97"/>
                  </a:lnTo>
                  <a:lnTo>
                    <a:pt x="188" y="0"/>
                  </a:lnTo>
                  <a:lnTo>
                    <a:pt x="184" y="9"/>
                  </a:lnTo>
                  <a:lnTo>
                    <a:pt x="66" y="9"/>
                  </a:lnTo>
                  <a:lnTo>
                    <a:pt x="61" y="9"/>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6" name="Freeform 71"/>
            <p:cNvSpPr>
              <a:spLocks/>
            </p:cNvSpPr>
            <p:nvPr/>
          </p:nvSpPr>
          <p:spPr bwMode="auto">
            <a:xfrm>
              <a:off x="4873625" y="5159375"/>
              <a:ext cx="388938" cy="336550"/>
            </a:xfrm>
            <a:custGeom>
              <a:avLst/>
              <a:gdLst>
                <a:gd name="T0" fmla="*/ 66 w 245"/>
                <a:gd name="T1" fmla="*/ 203 h 212"/>
                <a:gd name="T2" fmla="*/ 75 w 245"/>
                <a:gd name="T3" fmla="*/ 198 h 212"/>
                <a:gd name="T4" fmla="*/ 21 w 245"/>
                <a:gd name="T5" fmla="*/ 106 h 212"/>
                <a:gd name="T6" fmla="*/ 72 w 245"/>
                <a:gd name="T7" fmla="*/ 18 h 212"/>
                <a:gd name="T8" fmla="*/ 173 w 245"/>
                <a:gd name="T9" fmla="*/ 18 h 212"/>
                <a:gd name="T10" fmla="*/ 224 w 245"/>
                <a:gd name="T11" fmla="*/ 106 h 212"/>
                <a:gd name="T12" fmla="*/ 173 w 245"/>
                <a:gd name="T13" fmla="*/ 194 h 212"/>
                <a:gd name="T14" fmla="*/ 66 w 245"/>
                <a:gd name="T15" fmla="*/ 194 h 212"/>
                <a:gd name="T16" fmla="*/ 66 w 245"/>
                <a:gd name="T17" fmla="*/ 203 h 212"/>
                <a:gd name="T18" fmla="*/ 75 w 245"/>
                <a:gd name="T19" fmla="*/ 198 h 212"/>
                <a:gd name="T20" fmla="*/ 66 w 245"/>
                <a:gd name="T21" fmla="*/ 203 h 212"/>
                <a:gd name="T22" fmla="*/ 66 w 245"/>
                <a:gd name="T23" fmla="*/ 212 h 212"/>
                <a:gd name="T24" fmla="*/ 184 w 245"/>
                <a:gd name="T25" fmla="*/ 212 h 212"/>
                <a:gd name="T26" fmla="*/ 245 w 245"/>
                <a:gd name="T27" fmla="*/ 106 h 212"/>
                <a:gd name="T28" fmla="*/ 184 w 245"/>
                <a:gd name="T29" fmla="*/ 0 h 212"/>
                <a:gd name="T30" fmla="*/ 61 w 245"/>
                <a:gd name="T31" fmla="*/ 0 h 212"/>
                <a:gd name="T32" fmla="*/ 0 w 245"/>
                <a:gd name="T33" fmla="*/ 106 h 212"/>
                <a:gd name="T34" fmla="*/ 61 w 245"/>
                <a:gd name="T35" fmla="*/ 212 h 212"/>
                <a:gd name="T36" fmla="*/ 66 w 245"/>
                <a:gd name="T37" fmla="*/ 212 h 212"/>
                <a:gd name="T38" fmla="*/ 66 w 245"/>
                <a:gd name="T39"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12">
                  <a:moveTo>
                    <a:pt x="66" y="203"/>
                  </a:moveTo>
                  <a:lnTo>
                    <a:pt x="75" y="198"/>
                  </a:lnTo>
                  <a:lnTo>
                    <a:pt x="21" y="106"/>
                  </a:lnTo>
                  <a:lnTo>
                    <a:pt x="72" y="18"/>
                  </a:lnTo>
                  <a:lnTo>
                    <a:pt x="173" y="18"/>
                  </a:lnTo>
                  <a:lnTo>
                    <a:pt x="224" y="106"/>
                  </a:lnTo>
                  <a:lnTo>
                    <a:pt x="173" y="194"/>
                  </a:lnTo>
                  <a:lnTo>
                    <a:pt x="66" y="194"/>
                  </a:lnTo>
                  <a:lnTo>
                    <a:pt x="66" y="203"/>
                  </a:lnTo>
                  <a:lnTo>
                    <a:pt x="75" y="198"/>
                  </a:lnTo>
                  <a:lnTo>
                    <a:pt x="66" y="203"/>
                  </a:lnTo>
                  <a:lnTo>
                    <a:pt x="66" y="212"/>
                  </a:lnTo>
                  <a:lnTo>
                    <a:pt x="184" y="212"/>
                  </a:lnTo>
                  <a:lnTo>
                    <a:pt x="245" y="106"/>
                  </a:lnTo>
                  <a:lnTo>
                    <a:pt x="184" y="0"/>
                  </a:lnTo>
                  <a:lnTo>
                    <a:pt x="61" y="0"/>
                  </a:lnTo>
                  <a:lnTo>
                    <a:pt x="0" y="106"/>
                  </a:lnTo>
                  <a:lnTo>
                    <a:pt x="61" y="212"/>
                  </a:lnTo>
                  <a:lnTo>
                    <a:pt x="66" y="212"/>
                  </a:lnTo>
                  <a:lnTo>
                    <a:pt x="66"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7" name="Freeform 72"/>
            <p:cNvSpPr>
              <a:spLocks/>
            </p:cNvSpPr>
            <p:nvPr/>
          </p:nvSpPr>
          <p:spPr bwMode="auto">
            <a:xfrm>
              <a:off x="4873625" y="5159375"/>
              <a:ext cx="388938" cy="336550"/>
            </a:xfrm>
            <a:custGeom>
              <a:avLst/>
              <a:gdLst>
                <a:gd name="T0" fmla="*/ 66 w 245"/>
                <a:gd name="T1" fmla="*/ 203 h 212"/>
                <a:gd name="T2" fmla="*/ 75 w 245"/>
                <a:gd name="T3" fmla="*/ 198 h 212"/>
                <a:gd name="T4" fmla="*/ 21 w 245"/>
                <a:gd name="T5" fmla="*/ 106 h 212"/>
                <a:gd name="T6" fmla="*/ 72 w 245"/>
                <a:gd name="T7" fmla="*/ 18 h 212"/>
                <a:gd name="T8" fmla="*/ 173 w 245"/>
                <a:gd name="T9" fmla="*/ 18 h 212"/>
                <a:gd name="T10" fmla="*/ 224 w 245"/>
                <a:gd name="T11" fmla="*/ 106 h 212"/>
                <a:gd name="T12" fmla="*/ 173 w 245"/>
                <a:gd name="T13" fmla="*/ 194 h 212"/>
                <a:gd name="T14" fmla="*/ 66 w 245"/>
                <a:gd name="T15" fmla="*/ 194 h 212"/>
                <a:gd name="T16" fmla="*/ 66 w 245"/>
                <a:gd name="T17" fmla="*/ 203 h 212"/>
                <a:gd name="T18" fmla="*/ 75 w 245"/>
                <a:gd name="T19" fmla="*/ 198 h 212"/>
                <a:gd name="T20" fmla="*/ 66 w 245"/>
                <a:gd name="T21" fmla="*/ 203 h 212"/>
                <a:gd name="T22" fmla="*/ 66 w 245"/>
                <a:gd name="T23" fmla="*/ 212 h 212"/>
                <a:gd name="T24" fmla="*/ 184 w 245"/>
                <a:gd name="T25" fmla="*/ 212 h 212"/>
                <a:gd name="T26" fmla="*/ 245 w 245"/>
                <a:gd name="T27" fmla="*/ 106 h 212"/>
                <a:gd name="T28" fmla="*/ 184 w 245"/>
                <a:gd name="T29" fmla="*/ 0 h 212"/>
                <a:gd name="T30" fmla="*/ 61 w 245"/>
                <a:gd name="T31" fmla="*/ 0 h 212"/>
                <a:gd name="T32" fmla="*/ 0 w 245"/>
                <a:gd name="T33" fmla="*/ 106 h 212"/>
                <a:gd name="T34" fmla="*/ 61 w 245"/>
                <a:gd name="T35" fmla="*/ 212 h 212"/>
                <a:gd name="T36" fmla="*/ 66 w 245"/>
                <a:gd name="T37" fmla="*/ 212 h 212"/>
                <a:gd name="T38" fmla="*/ 66 w 245"/>
                <a:gd name="T39"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12">
                  <a:moveTo>
                    <a:pt x="66" y="203"/>
                  </a:moveTo>
                  <a:lnTo>
                    <a:pt x="75" y="198"/>
                  </a:lnTo>
                  <a:lnTo>
                    <a:pt x="21" y="106"/>
                  </a:lnTo>
                  <a:lnTo>
                    <a:pt x="72" y="18"/>
                  </a:lnTo>
                  <a:lnTo>
                    <a:pt x="173" y="18"/>
                  </a:lnTo>
                  <a:lnTo>
                    <a:pt x="224" y="106"/>
                  </a:lnTo>
                  <a:lnTo>
                    <a:pt x="173" y="194"/>
                  </a:lnTo>
                  <a:lnTo>
                    <a:pt x="66" y="194"/>
                  </a:lnTo>
                  <a:lnTo>
                    <a:pt x="66" y="203"/>
                  </a:lnTo>
                  <a:lnTo>
                    <a:pt x="75" y="198"/>
                  </a:lnTo>
                  <a:lnTo>
                    <a:pt x="66" y="203"/>
                  </a:lnTo>
                  <a:lnTo>
                    <a:pt x="66" y="212"/>
                  </a:lnTo>
                  <a:lnTo>
                    <a:pt x="184" y="212"/>
                  </a:lnTo>
                  <a:lnTo>
                    <a:pt x="245" y="106"/>
                  </a:lnTo>
                  <a:lnTo>
                    <a:pt x="184" y="0"/>
                  </a:lnTo>
                  <a:lnTo>
                    <a:pt x="61" y="0"/>
                  </a:lnTo>
                  <a:lnTo>
                    <a:pt x="0" y="106"/>
                  </a:lnTo>
                  <a:lnTo>
                    <a:pt x="61" y="212"/>
                  </a:lnTo>
                  <a:lnTo>
                    <a:pt x="66" y="212"/>
                  </a:lnTo>
                  <a:lnTo>
                    <a:pt x="66" y="2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8" name="Freeform 73"/>
            <p:cNvSpPr>
              <a:spLocks noEditPoints="1"/>
            </p:cNvSpPr>
            <p:nvPr/>
          </p:nvSpPr>
          <p:spPr bwMode="auto">
            <a:xfrm>
              <a:off x="5029200" y="5068888"/>
              <a:ext cx="355600" cy="306388"/>
            </a:xfrm>
            <a:custGeom>
              <a:avLst/>
              <a:gdLst>
                <a:gd name="T0" fmla="*/ 75 w 224"/>
                <a:gd name="T1" fmla="*/ 75 h 193"/>
                <a:gd name="T2" fmla="*/ 12 w 224"/>
                <a:gd name="T3" fmla="*/ 75 h 193"/>
                <a:gd name="T4" fmla="*/ 0 w 224"/>
                <a:gd name="T5" fmla="*/ 96 h 193"/>
                <a:gd name="T6" fmla="*/ 56 w 224"/>
                <a:gd name="T7" fmla="*/ 193 h 193"/>
                <a:gd name="T8" fmla="*/ 108 w 224"/>
                <a:gd name="T9" fmla="*/ 193 h 193"/>
                <a:gd name="T10" fmla="*/ 126 w 224"/>
                <a:gd name="T11" fmla="*/ 163 h 193"/>
                <a:gd name="T12" fmla="*/ 75 w 224"/>
                <a:gd name="T13" fmla="*/ 75 h 193"/>
                <a:gd name="T14" fmla="*/ 168 w 224"/>
                <a:gd name="T15" fmla="*/ 0 h 193"/>
                <a:gd name="T16" fmla="*/ 56 w 224"/>
                <a:gd name="T17" fmla="*/ 0 h 193"/>
                <a:gd name="T18" fmla="*/ 23 w 224"/>
                <a:gd name="T19" fmla="*/ 57 h 193"/>
                <a:gd name="T20" fmla="*/ 86 w 224"/>
                <a:gd name="T21" fmla="*/ 57 h 193"/>
                <a:gd name="T22" fmla="*/ 147 w 224"/>
                <a:gd name="T23" fmla="*/ 163 h 193"/>
                <a:gd name="T24" fmla="*/ 129 w 224"/>
                <a:gd name="T25" fmla="*/ 193 h 193"/>
                <a:gd name="T26" fmla="*/ 168 w 224"/>
                <a:gd name="T27" fmla="*/ 193 h 193"/>
                <a:gd name="T28" fmla="*/ 224 w 224"/>
                <a:gd name="T29" fmla="*/ 96 h 193"/>
                <a:gd name="T30" fmla="*/ 168 w 224"/>
                <a:gd name="T3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193">
                  <a:moveTo>
                    <a:pt x="75" y="75"/>
                  </a:moveTo>
                  <a:lnTo>
                    <a:pt x="12" y="75"/>
                  </a:lnTo>
                  <a:lnTo>
                    <a:pt x="0" y="96"/>
                  </a:lnTo>
                  <a:lnTo>
                    <a:pt x="56" y="193"/>
                  </a:lnTo>
                  <a:lnTo>
                    <a:pt x="108" y="193"/>
                  </a:lnTo>
                  <a:lnTo>
                    <a:pt x="126" y="163"/>
                  </a:lnTo>
                  <a:lnTo>
                    <a:pt x="75" y="75"/>
                  </a:lnTo>
                  <a:close/>
                  <a:moveTo>
                    <a:pt x="168" y="0"/>
                  </a:moveTo>
                  <a:lnTo>
                    <a:pt x="56" y="0"/>
                  </a:lnTo>
                  <a:lnTo>
                    <a:pt x="23" y="57"/>
                  </a:lnTo>
                  <a:lnTo>
                    <a:pt x="86" y="57"/>
                  </a:lnTo>
                  <a:lnTo>
                    <a:pt x="147" y="163"/>
                  </a:lnTo>
                  <a:lnTo>
                    <a:pt x="129" y="193"/>
                  </a:lnTo>
                  <a:lnTo>
                    <a:pt x="168" y="193"/>
                  </a:lnTo>
                  <a:lnTo>
                    <a:pt x="224" y="96"/>
                  </a:lnTo>
                  <a:lnTo>
                    <a:pt x="168" y="0"/>
                  </a:lnTo>
                  <a:close/>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69" name="Freeform 74"/>
            <p:cNvSpPr>
              <a:spLocks noEditPoints="1"/>
            </p:cNvSpPr>
            <p:nvPr/>
          </p:nvSpPr>
          <p:spPr bwMode="auto">
            <a:xfrm>
              <a:off x="5029200" y="5068888"/>
              <a:ext cx="355600" cy="306388"/>
            </a:xfrm>
            <a:custGeom>
              <a:avLst/>
              <a:gdLst>
                <a:gd name="T0" fmla="*/ 75 w 224"/>
                <a:gd name="T1" fmla="*/ 75 h 193"/>
                <a:gd name="T2" fmla="*/ 12 w 224"/>
                <a:gd name="T3" fmla="*/ 75 h 193"/>
                <a:gd name="T4" fmla="*/ 0 w 224"/>
                <a:gd name="T5" fmla="*/ 96 h 193"/>
                <a:gd name="T6" fmla="*/ 56 w 224"/>
                <a:gd name="T7" fmla="*/ 193 h 193"/>
                <a:gd name="T8" fmla="*/ 108 w 224"/>
                <a:gd name="T9" fmla="*/ 193 h 193"/>
                <a:gd name="T10" fmla="*/ 126 w 224"/>
                <a:gd name="T11" fmla="*/ 163 h 193"/>
                <a:gd name="T12" fmla="*/ 75 w 224"/>
                <a:gd name="T13" fmla="*/ 75 h 193"/>
                <a:gd name="T14" fmla="*/ 168 w 224"/>
                <a:gd name="T15" fmla="*/ 0 h 193"/>
                <a:gd name="T16" fmla="*/ 56 w 224"/>
                <a:gd name="T17" fmla="*/ 0 h 193"/>
                <a:gd name="T18" fmla="*/ 23 w 224"/>
                <a:gd name="T19" fmla="*/ 57 h 193"/>
                <a:gd name="T20" fmla="*/ 86 w 224"/>
                <a:gd name="T21" fmla="*/ 57 h 193"/>
                <a:gd name="T22" fmla="*/ 147 w 224"/>
                <a:gd name="T23" fmla="*/ 163 h 193"/>
                <a:gd name="T24" fmla="*/ 129 w 224"/>
                <a:gd name="T25" fmla="*/ 193 h 193"/>
                <a:gd name="T26" fmla="*/ 168 w 224"/>
                <a:gd name="T27" fmla="*/ 193 h 193"/>
                <a:gd name="T28" fmla="*/ 224 w 224"/>
                <a:gd name="T29" fmla="*/ 96 h 193"/>
                <a:gd name="T30" fmla="*/ 168 w 224"/>
                <a:gd name="T3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193">
                  <a:moveTo>
                    <a:pt x="75" y="75"/>
                  </a:moveTo>
                  <a:lnTo>
                    <a:pt x="12" y="75"/>
                  </a:lnTo>
                  <a:lnTo>
                    <a:pt x="0" y="96"/>
                  </a:lnTo>
                  <a:lnTo>
                    <a:pt x="56" y="193"/>
                  </a:lnTo>
                  <a:lnTo>
                    <a:pt x="108" y="193"/>
                  </a:lnTo>
                  <a:lnTo>
                    <a:pt x="126" y="163"/>
                  </a:lnTo>
                  <a:lnTo>
                    <a:pt x="75" y="75"/>
                  </a:lnTo>
                  <a:moveTo>
                    <a:pt x="168" y="0"/>
                  </a:moveTo>
                  <a:lnTo>
                    <a:pt x="56" y="0"/>
                  </a:lnTo>
                  <a:lnTo>
                    <a:pt x="23" y="57"/>
                  </a:lnTo>
                  <a:lnTo>
                    <a:pt x="86" y="57"/>
                  </a:lnTo>
                  <a:lnTo>
                    <a:pt x="147" y="163"/>
                  </a:lnTo>
                  <a:lnTo>
                    <a:pt x="129" y="193"/>
                  </a:lnTo>
                  <a:lnTo>
                    <a:pt x="168" y="193"/>
                  </a:lnTo>
                  <a:lnTo>
                    <a:pt x="224" y="96"/>
                  </a:lnTo>
                  <a:lnTo>
                    <a:pt x="1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0" name="Freeform 75"/>
            <p:cNvSpPr>
              <a:spLocks/>
            </p:cNvSpPr>
            <p:nvPr/>
          </p:nvSpPr>
          <p:spPr bwMode="auto">
            <a:xfrm>
              <a:off x="5048250" y="5159375"/>
              <a:ext cx="214313" cy="215900"/>
            </a:xfrm>
            <a:custGeom>
              <a:avLst/>
              <a:gdLst>
                <a:gd name="T0" fmla="*/ 74 w 135"/>
                <a:gd name="T1" fmla="*/ 0 h 136"/>
                <a:gd name="T2" fmla="*/ 11 w 135"/>
                <a:gd name="T3" fmla="*/ 0 h 136"/>
                <a:gd name="T4" fmla="*/ 0 w 135"/>
                <a:gd name="T5" fmla="*/ 18 h 136"/>
                <a:gd name="T6" fmla="*/ 63 w 135"/>
                <a:gd name="T7" fmla="*/ 18 h 136"/>
                <a:gd name="T8" fmla="*/ 114 w 135"/>
                <a:gd name="T9" fmla="*/ 106 h 136"/>
                <a:gd name="T10" fmla="*/ 96 w 135"/>
                <a:gd name="T11" fmla="*/ 136 h 136"/>
                <a:gd name="T12" fmla="*/ 117 w 135"/>
                <a:gd name="T13" fmla="*/ 136 h 136"/>
                <a:gd name="T14" fmla="*/ 135 w 135"/>
                <a:gd name="T15" fmla="*/ 106 h 136"/>
                <a:gd name="T16" fmla="*/ 74 w 135"/>
                <a:gd name="T1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6">
                  <a:moveTo>
                    <a:pt x="74" y="0"/>
                  </a:moveTo>
                  <a:lnTo>
                    <a:pt x="11" y="0"/>
                  </a:lnTo>
                  <a:lnTo>
                    <a:pt x="0" y="18"/>
                  </a:lnTo>
                  <a:lnTo>
                    <a:pt x="63" y="18"/>
                  </a:lnTo>
                  <a:lnTo>
                    <a:pt x="114" y="106"/>
                  </a:lnTo>
                  <a:lnTo>
                    <a:pt x="96" y="136"/>
                  </a:lnTo>
                  <a:lnTo>
                    <a:pt x="117" y="136"/>
                  </a:lnTo>
                  <a:lnTo>
                    <a:pt x="135" y="106"/>
                  </a:lnTo>
                  <a:lnTo>
                    <a:pt x="74" y="0"/>
                  </a:lnTo>
                  <a:close/>
                </a:path>
              </a:pathLst>
            </a:custGeom>
            <a:solidFill>
              <a:srgbClr val="9ED3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1" name="Freeform 76"/>
            <p:cNvSpPr>
              <a:spLocks/>
            </p:cNvSpPr>
            <p:nvPr/>
          </p:nvSpPr>
          <p:spPr bwMode="auto">
            <a:xfrm>
              <a:off x="5048250" y="5159375"/>
              <a:ext cx="214313" cy="215900"/>
            </a:xfrm>
            <a:custGeom>
              <a:avLst/>
              <a:gdLst>
                <a:gd name="T0" fmla="*/ 74 w 135"/>
                <a:gd name="T1" fmla="*/ 0 h 136"/>
                <a:gd name="T2" fmla="*/ 11 w 135"/>
                <a:gd name="T3" fmla="*/ 0 h 136"/>
                <a:gd name="T4" fmla="*/ 0 w 135"/>
                <a:gd name="T5" fmla="*/ 18 h 136"/>
                <a:gd name="T6" fmla="*/ 63 w 135"/>
                <a:gd name="T7" fmla="*/ 18 h 136"/>
                <a:gd name="T8" fmla="*/ 114 w 135"/>
                <a:gd name="T9" fmla="*/ 106 h 136"/>
                <a:gd name="T10" fmla="*/ 96 w 135"/>
                <a:gd name="T11" fmla="*/ 136 h 136"/>
                <a:gd name="T12" fmla="*/ 117 w 135"/>
                <a:gd name="T13" fmla="*/ 136 h 136"/>
                <a:gd name="T14" fmla="*/ 135 w 135"/>
                <a:gd name="T15" fmla="*/ 106 h 136"/>
                <a:gd name="T16" fmla="*/ 74 w 135"/>
                <a:gd name="T1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6">
                  <a:moveTo>
                    <a:pt x="74" y="0"/>
                  </a:moveTo>
                  <a:lnTo>
                    <a:pt x="11" y="0"/>
                  </a:lnTo>
                  <a:lnTo>
                    <a:pt x="0" y="18"/>
                  </a:lnTo>
                  <a:lnTo>
                    <a:pt x="63" y="18"/>
                  </a:lnTo>
                  <a:lnTo>
                    <a:pt x="114" y="106"/>
                  </a:lnTo>
                  <a:lnTo>
                    <a:pt x="96" y="136"/>
                  </a:lnTo>
                  <a:lnTo>
                    <a:pt x="117" y="136"/>
                  </a:lnTo>
                  <a:lnTo>
                    <a:pt x="135" y="106"/>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2" name="Rectangle 77"/>
            <p:cNvSpPr>
              <a:spLocks noChangeArrowheads="1"/>
            </p:cNvSpPr>
            <p:nvPr/>
          </p:nvSpPr>
          <p:spPr bwMode="auto">
            <a:xfrm>
              <a:off x="5722938" y="5110163"/>
              <a:ext cx="38100" cy="106363"/>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3" name="Rectangle 78"/>
            <p:cNvSpPr>
              <a:spLocks noChangeArrowheads="1"/>
            </p:cNvSpPr>
            <p:nvPr/>
          </p:nvSpPr>
          <p:spPr bwMode="auto">
            <a:xfrm>
              <a:off x="5722938" y="5110163"/>
              <a:ext cx="381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4" name="Rectangle 79"/>
            <p:cNvSpPr>
              <a:spLocks noChangeArrowheads="1"/>
            </p:cNvSpPr>
            <p:nvPr/>
          </p:nvSpPr>
          <p:spPr bwMode="auto">
            <a:xfrm>
              <a:off x="5502275" y="5056188"/>
              <a:ext cx="36513" cy="160338"/>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8" name="Rectangle 80"/>
            <p:cNvSpPr>
              <a:spLocks noChangeArrowheads="1"/>
            </p:cNvSpPr>
            <p:nvPr/>
          </p:nvSpPr>
          <p:spPr bwMode="auto">
            <a:xfrm>
              <a:off x="5502275" y="5056188"/>
              <a:ext cx="36513"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79" name="Rectangle 81"/>
            <p:cNvSpPr>
              <a:spLocks noChangeArrowheads="1"/>
            </p:cNvSpPr>
            <p:nvPr/>
          </p:nvSpPr>
          <p:spPr bwMode="auto">
            <a:xfrm>
              <a:off x="5576888" y="4938713"/>
              <a:ext cx="34925" cy="277813"/>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0" name="Rectangle 82"/>
            <p:cNvSpPr>
              <a:spLocks noChangeArrowheads="1"/>
            </p:cNvSpPr>
            <p:nvPr/>
          </p:nvSpPr>
          <p:spPr bwMode="auto">
            <a:xfrm>
              <a:off x="5576888" y="4938713"/>
              <a:ext cx="349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1" name="Rectangle 83"/>
            <p:cNvSpPr>
              <a:spLocks noChangeArrowheads="1"/>
            </p:cNvSpPr>
            <p:nvPr/>
          </p:nvSpPr>
          <p:spPr bwMode="auto">
            <a:xfrm>
              <a:off x="5649913" y="5056188"/>
              <a:ext cx="36513" cy="160338"/>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2" name="Rectangle 84"/>
            <p:cNvSpPr>
              <a:spLocks noChangeArrowheads="1"/>
            </p:cNvSpPr>
            <p:nvPr/>
          </p:nvSpPr>
          <p:spPr bwMode="auto">
            <a:xfrm>
              <a:off x="5649913" y="5056188"/>
              <a:ext cx="36513"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3" name="Rectangle 85"/>
            <p:cNvSpPr>
              <a:spLocks noChangeArrowheads="1"/>
            </p:cNvSpPr>
            <p:nvPr/>
          </p:nvSpPr>
          <p:spPr bwMode="auto">
            <a:xfrm>
              <a:off x="5795963" y="5110163"/>
              <a:ext cx="36513" cy="106363"/>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4" name="Rectangle 86"/>
            <p:cNvSpPr>
              <a:spLocks noChangeArrowheads="1"/>
            </p:cNvSpPr>
            <p:nvPr/>
          </p:nvSpPr>
          <p:spPr bwMode="auto">
            <a:xfrm>
              <a:off x="5795963" y="5110163"/>
              <a:ext cx="3651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5" name="Freeform 87"/>
            <p:cNvSpPr>
              <a:spLocks/>
            </p:cNvSpPr>
            <p:nvPr/>
          </p:nvSpPr>
          <p:spPr bwMode="auto">
            <a:xfrm>
              <a:off x="5384800" y="5216525"/>
              <a:ext cx="504825" cy="11113"/>
            </a:xfrm>
            <a:custGeom>
              <a:avLst/>
              <a:gdLst>
                <a:gd name="T0" fmla="*/ 318 w 318"/>
                <a:gd name="T1" fmla="*/ 0 h 7"/>
                <a:gd name="T2" fmla="*/ 282 w 318"/>
                <a:gd name="T3" fmla="*/ 0 h 7"/>
                <a:gd name="T4" fmla="*/ 282 w 318"/>
                <a:gd name="T5" fmla="*/ 3 h 7"/>
                <a:gd name="T6" fmla="*/ 259 w 318"/>
                <a:gd name="T7" fmla="*/ 3 h 7"/>
                <a:gd name="T8" fmla="*/ 259 w 318"/>
                <a:gd name="T9" fmla="*/ 0 h 7"/>
                <a:gd name="T10" fmla="*/ 237 w 318"/>
                <a:gd name="T11" fmla="*/ 0 h 7"/>
                <a:gd name="T12" fmla="*/ 237 w 318"/>
                <a:gd name="T13" fmla="*/ 3 h 7"/>
                <a:gd name="T14" fmla="*/ 213 w 318"/>
                <a:gd name="T15" fmla="*/ 3 h 7"/>
                <a:gd name="T16" fmla="*/ 213 w 318"/>
                <a:gd name="T17" fmla="*/ 0 h 7"/>
                <a:gd name="T18" fmla="*/ 190 w 318"/>
                <a:gd name="T19" fmla="*/ 0 h 7"/>
                <a:gd name="T20" fmla="*/ 190 w 318"/>
                <a:gd name="T21" fmla="*/ 3 h 7"/>
                <a:gd name="T22" fmla="*/ 167 w 318"/>
                <a:gd name="T23" fmla="*/ 3 h 7"/>
                <a:gd name="T24" fmla="*/ 167 w 318"/>
                <a:gd name="T25" fmla="*/ 0 h 7"/>
                <a:gd name="T26" fmla="*/ 143 w 318"/>
                <a:gd name="T27" fmla="*/ 0 h 7"/>
                <a:gd name="T28" fmla="*/ 143 w 318"/>
                <a:gd name="T29" fmla="*/ 3 h 7"/>
                <a:gd name="T30" fmla="*/ 121 w 318"/>
                <a:gd name="T31" fmla="*/ 3 h 7"/>
                <a:gd name="T32" fmla="*/ 121 w 318"/>
                <a:gd name="T33" fmla="*/ 0 h 7"/>
                <a:gd name="T34" fmla="*/ 97 w 318"/>
                <a:gd name="T35" fmla="*/ 0 h 7"/>
                <a:gd name="T36" fmla="*/ 97 w 318"/>
                <a:gd name="T37" fmla="*/ 3 h 7"/>
                <a:gd name="T38" fmla="*/ 74 w 318"/>
                <a:gd name="T39" fmla="*/ 3 h 7"/>
                <a:gd name="T40" fmla="*/ 74 w 318"/>
                <a:gd name="T41" fmla="*/ 0 h 7"/>
                <a:gd name="T42" fmla="*/ 0 w 318"/>
                <a:gd name="T43" fmla="*/ 0 h 7"/>
                <a:gd name="T44" fmla="*/ 0 w 318"/>
                <a:gd name="T45" fmla="*/ 7 h 7"/>
                <a:gd name="T46" fmla="*/ 318 w 318"/>
                <a:gd name="T47" fmla="*/ 7 h 7"/>
                <a:gd name="T48" fmla="*/ 318 w 318"/>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7">
                  <a:moveTo>
                    <a:pt x="318" y="0"/>
                  </a:moveTo>
                  <a:lnTo>
                    <a:pt x="282" y="0"/>
                  </a:lnTo>
                  <a:lnTo>
                    <a:pt x="282" y="3"/>
                  </a:lnTo>
                  <a:lnTo>
                    <a:pt x="259" y="3"/>
                  </a:lnTo>
                  <a:lnTo>
                    <a:pt x="259" y="0"/>
                  </a:lnTo>
                  <a:lnTo>
                    <a:pt x="237" y="0"/>
                  </a:lnTo>
                  <a:lnTo>
                    <a:pt x="237" y="3"/>
                  </a:lnTo>
                  <a:lnTo>
                    <a:pt x="213" y="3"/>
                  </a:lnTo>
                  <a:lnTo>
                    <a:pt x="213" y="0"/>
                  </a:lnTo>
                  <a:lnTo>
                    <a:pt x="190" y="0"/>
                  </a:lnTo>
                  <a:lnTo>
                    <a:pt x="190" y="3"/>
                  </a:lnTo>
                  <a:lnTo>
                    <a:pt x="167" y="3"/>
                  </a:lnTo>
                  <a:lnTo>
                    <a:pt x="167" y="0"/>
                  </a:lnTo>
                  <a:lnTo>
                    <a:pt x="143" y="0"/>
                  </a:lnTo>
                  <a:lnTo>
                    <a:pt x="143" y="3"/>
                  </a:lnTo>
                  <a:lnTo>
                    <a:pt x="121" y="3"/>
                  </a:lnTo>
                  <a:lnTo>
                    <a:pt x="121" y="0"/>
                  </a:lnTo>
                  <a:lnTo>
                    <a:pt x="97" y="0"/>
                  </a:lnTo>
                  <a:lnTo>
                    <a:pt x="97" y="3"/>
                  </a:lnTo>
                  <a:lnTo>
                    <a:pt x="74" y="3"/>
                  </a:lnTo>
                  <a:lnTo>
                    <a:pt x="74" y="0"/>
                  </a:lnTo>
                  <a:lnTo>
                    <a:pt x="0" y="0"/>
                  </a:lnTo>
                  <a:lnTo>
                    <a:pt x="0" y="7"/>
                  </a:lnTo>
                  <a:lnTo>
                    <a:pt x="318" y="7"/>
                  </a:lnTo>
                  <a:lnTo>
                    <a:pt x="318" y="0"/>
                  </a:lnTo>
                  <a:close/>
                </a:path>
              </a:pathLst>
            </a:custGeom>
            <a:solidFill>
              <a:srgbClr val="4D8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6" name="Freeform 88"/>
            <p:cNvSpPr>
              <a:spLocks/>
            </p:cNvSpPr>
            <p:nvPr/>
          </p:nvSpPr>
          <p:spPr bwMode="auto">
            <a:xfrm>
              <a:off x="5384800" y="5216525"/>
              <a:ext cx="504825" cy="11113"/>
            </a:xfrm>
            <a:custGeom>
              <a:avLst/>
              <a:gdLst>
                <a:gd name="T0" fmla="*/ 318 w 318"/>
                <a:gd name="T1" fmla="*/ 0 h 7"/>
                <a:gd name="T2" fmla="*/ 282 w 318"/>
                <a:gd name="T3" fmla="*/ 0 h 7"/>
                <a:gd name="T4" fmla="*/ 282 w 318"/>
                <a:gd name="T5" fmla="*/ 3 h 7"/>
                <a:gd name="T6" fmla="*/ 259 w 318"/>
                <a:gd name="T7" fmla="*/ 3 h 7"/>
                <a:gd name="T8" fmla="*/ 259 w 318"/>
                <a:gd name="T9" fmla="*/ 0 h 7"/>
                <a:gd name="T10" fmla="*/ 237 w 318"/>
                <a:gd name="T11" fmla="*/ 0 h 7"/>
                <a:gd name="T12" fmla="*/ 237 w 318"/>
                <a:gd name="T13" fmla="*/ 3 h 7"/>
                <a:gd name="T14" fmla="*/ 213 w 318"/>
                <a:gd name="T15" fmla="*/ 3 h 7"/>
                <a:gd name="T16" fmla="*/ 213 w 318"/>
                <a:gd name="T17" fmla="*/ 0 h 7"/>
                <a:gd name="T18" fmla="*/ 190 w 318"/>
                <a:gd name="T19" fmla="*/ 0 h 7"/>
                <a:gd name="T20" fmla="*/ 190 w 318"/>
                <a:gd name="T21" fmla="*/ 3 h 7"/>
                <a:gd name="T22" fmla="*/ 167 w 318"/>
                <a:gd name="T23" fmla="*/ 3 h 7"/>
                <a:gd name="T24" fmla="*/ 167 w 318"/>
                <a:gd name="T25" fmla="*/ 0 h 7"/>
                <a:gd name="T26" fmla="*/ 143 w 318"/>
                <a:gd name="T27" fmla="*/ 0 h 7"/>
                <a:gd name="T28" fmla="*/ 143 w 318"/>
                <a:gd name="T29" fmla="*/ 3 h 7"/>
                <a:gd name="T30" fmla="*/ 121 w 318"/>
                <a:gd name="T31" fmla="*/ 3 h 7"/>
                <a:gd name="T32" fmla="*/ 121 w 318"/>
                <a:gd name="T33" fmla="*/ 0 h 7"/>
                <a:gd name="T34" fmla="*/ 97 w 318"/>
                <a:gd name="T35" fmla="*/ 0 h 7"/>
                <a:gd name="T36" fmla="*/ 97 w 318"/>
                <a:gd name="T37" fmla="*/ 3 h 7"/>
                <a:gd name="T38" fmla="*/ 74 w 318"/>
                <a:gd name="T39" fmla="*/ 3 h 7"/>
                <a:gd name="T40" fmla="*/ 74 w 318"/>
                <a:gd name="T41" fmla="*/ 0 h 7"/>
                <a:gd name="T42" fmla="*/ 0 w 318"/>
                <a:gd name="T43" fmla="*/ 0 h 7"/>
                <a:gd name="T44" fmla="*/ 0 w 318"/>
                <a:gd name="T45" fmla="*/ 7 h 7"/>
                <a:gd name="T46" fmla="*/ 318 w 318"/>
                <a:gd name="T47" fmla="*/ 7 h 7"/>
                <a:gd name="T48" fmla="*/ 318 w 318"/>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7">
                  <a:moveTo>
                    <a:pt x="318" y="0"/>
                  </a:moveTo>
                  <a:lnTo>
                    <a:pt x="282" y="0"/>
                  </a:lnTo>
                  <a:lnTo>
                    <a:pt x="282" y="3"/>
                  </a:lnTo>
                  <a:lnTo>
                    <a:pt x="259" y="3"/>
                  </a:lnTo>
                  <a:lnTo>
                    <a:pt x="259" y="0"/>
                  </a:lnTo>
                  <a:lnTo>
                    <a:pt x="237" y="0"/>
                  </a:lnTo>
                  <a:lnTo>
                    <a:pt x="237" y="3"/>
                  </a:lnTo>
                  <a:lnTo>
                    <a:pt x="213" y="3"/>
                  </a:lnTo>
                  <a:lnTo>
                    <a:pt x="213" y="0"/>
                  </a:lnTo>
                  <a:lnTo>
                    <a:pt x="190" y="0"/>
                  </a:lnTo>
                  <a:lnTo>
                    <a:pt x="190" y="3"/>
                  </a:lnTo>
                  <a:lnTo>
                    <a:pt x="167" y="3"/>
                  </a:lnTo>
                  <a:lnTo>
                    <a:pt x="167" y="0"/>
                  </a:lnTo>
                  <a:lnTo>
                    <a:pt x="143" y="0"/>
                  </a:lnTo>
                  <a:lnTo>
                    <a:pt x="143" y="3"/>
                  </a:lnTo>
                  <a:lnTo>
                    <a:pt x="121" y="3"/>
                  </a:lnTo>
                  <a:lnTo>
                    <a:pt x="121" y="0"/>
                  </a:lnTo>
                  <a:lnTo>
                    <a:pt x="97" y="0"/>
                  </a:lnTo>
                  <a:lnTo>
                    <a:pt x="97" y="3"/>
                  </a:lnTo>
                  <a:lnTo>
                    <a:pt x="74" y="3"/>
                  </a:lnTo>
                  <a:lnTo>
                    <a:pt x="74" y="0"/>
                  </a:lnTo>
                  <a:lnTo>
                    <a:pt x="0" y="0"/>
                  </a:lnTo>
                  <a:lnTo>
                    <a:pt x="0" y="7"/>
                  </a:lnTo>
                  <a:lnTo>
                    <a:pt x="318" y="7"/>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7" name="Rectangle 89"/>
            <p:cNvSpPr>
              <a:spLocks noChangeArrowheads="1"/>
            </p:cNvSpPr>
            <p:nvPr/>
          </p:nvSpPr>
          <p:spPr bwMode="auto">
            <a:xfrm>
              <a:off x="5722938" y="5216525"/>
              <a:ext cx="38100" cy="4763"/>
            </a:xfrm>
            <a:prstGeom prst="rect">
              <a:avLst/>
            </a:prstGeom>
            <a:solidFill>
              <a:srgbClr val="4595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8" name="Rectangle 90"/>
            <p:cNvSpPr>
              <a:spLocks noChangeArrowheads="1"/>
            </p:cNvSpPr>
            <p:nvPr/>
          </p:nvSpPr>
          <p:spPr bwMode="auto">
            <a:xfrm>
              <a:off x="5722938" y="5216525"/>
              <a:ext cx="3810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89" name="Rectangle 91"/>
            <p:cNvSpPr>
              <a:spLocks noChangeArrowheads="1"/>
            </p:cNvSpPr>
            <p:nvPr/>
          </p:nvSpPr>
          <p:spPr bwMode="auto">
            <a:xfrm>
              <a:off x="5502275" y="5216525"/>
              <a:ext cx="36513" cy="4763"/>
            </a:xfrm>
            <a:prstGeom prst="rect">
              <a:avLst/>
            </a:prstGeom>
            <a:solidFill>
              <a:srgbClr val="4595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0" name="Rectangle 92"/>
            <p:cNvSpPr>
              <a:spLocks noChangeArrowheads="1"/>
            </p:cNvSpPr>
            <p:nvPr/>
          </p:nvSpPr>
          <p:spPr bwMode="auto">
            <a:xfrm>
              <a:off x="5502275" y="5216525"/>
              <a:ext cx="36513"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1" name="Rectangle 93"/>
            <p:cNvSpPr>
              <a:spLocks noChangeArrowheads="1"/>
            </p:cNvSpPr>
            <p:nvPr/>
          </p:nvSpPr>
          <p:spPr bwMode="auto">
            <a:xfrm>
              <a:off x="5576888" y="5216525"/>
              <a:ext cx="34925" cy="4763"/>
            </a:xfrm>
            <a:prstGeom prst="rect">
              <a:avLst/>
            </a:prstGeom>
            <a:solidFill>
              <a:srgbClr val="4595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2" name="Rectangle 94"/>
            <p:cNvSpPr>
              <a:spLocks noChangeArrowheads="1"/>
            </p:cNvSpPr>
            <p:nvPr/>
          </p:nvSpPr>
          <p:spPr bwMode="auto">
            <a:xfrm>
              <a:off x="5576888" y="5216525"/>
              <a:ext cx="34925"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3" name="Rectangle 95"/>
            <p:cNvSpPr>
              <a:spLocks noChangeArrowheads="1"/>
            </p:cNvSpPr>
            <p:nvPr/>
          </p:nvSpPr>
          <p:spPr bwMode="auto">
            <a:xfrm>
              <a:off x="5649913" y="5216525"/>
              <a:ext cx="36513" cy="4763"/>
            </a:xfrm>
            <a:prstGeom prst="rect">
              <a:avLst/>
            </a:prstGeom>
            <a:solidFill>
              <a:srgbClr val="4595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4" name="Rectangle 96"/>
            <p:cNvSpPr>
              <a:spLocks noChangeArrowheads="1"/>
            </p:cNvSpPr>
            <p:nvPr/>
          </p:nvSpPr>
          <p:spPr bwMode="auto">
            <a:xfrm>
              <a:off x="5649913" y="5216525"/>
              <a:ext cx="36513"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5" name="Rectangle 97"/>
            <p:cNvSpPr>
              <a:spLocks noChangeArrowheads="1"/>
            </p:cNvSpPr>
            <p:nvPr/>
          </p:nvSpPr>
          <p:spPr bwMode="auto">
            <a:xfrm>
              <a:off x="5795963" y="5216525"/>
              <a:ext cx="36513" cy="4763"/>
            </a:xfrm>
            <a:prstGeom prst="rect">
              <a:avLst/>
            </a:prstGeom>
            <a:solidFill>
              <a:srgbClr val="4595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6" name="Rectangle 98"/>
            <p:cNvSpPr>
              <a:spLocks noChangeArrowheads="1"/>
            </p:cNvSpPr>
            <p:nvPr/>
          </p:nvSpPr>
          <p:spPr bwMode="auto">
            <a:xfrm>
              <a:off x="5795963" y="5216525"/>
              <a:ext cx="36513"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7" name="Rectangle 99"/>
            <p:cNvSpPr>
              <a:spLocks noChangeArrowheads="1"/>
            </p:cNvSpPr>
            <p:nvPr/>
          </p:nvSpPr>
          <p:spPr bwMode="auto">
            <a:xfrm>
              <a:off x="5500688" y="5286375"/>
              <a:ext cx="338138" cy="12700"/>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8" name="Rectangle 100"/>
            <p:cNvSpPr>
              <a:spLocks noChangeArrowheads="1"/>
            </p:cNvSpPr>
            <p:nvPr/>
          </p:nvSpPr>
          <p:spPr bwMode="auto">
            <a:xfrm>
              <a:off x="5500688" y="5286375"/>
              <a:ext cx="338138" cy="1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299" name="Rectangle 101"/>
            <p:cNvSpPr>
              <a:spLocks noChangeArrowheads="1"/>
            </p:cNvSpPr>
            <p:nvPr/>
          </p:nvSpPr>
          <p:spPr bwMode="auto">
            <a:xfrm>
              <a:off x="5500688" y="5337175"/>
              <a:ext cx="338138" cy="11113"/>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0" name="Rectangle 102"/>
            <p:cNvSpPr>
              <a:spLocks noChangeArrowheads="1"/>
            </p:cNvSpPr>
            <p:nvPr/>
          </p:nvSpPr>
          <p:spPr bwMode="auto">
            <a:xfrm>
              <a:off x="5500688" y="5337175"/>
              <a:ext cx="338138" cy="1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1" name="Rectangle 103"/>
            <p:cNvSpPr>
              <a:spLocks noChangeArrowheads="1"/>
            </p:cNvSpPr>
            <p:nvPr/>
          </p:nvSpPr>
          <p:spPr bwMode="auto">
            <a:xfrm>
              <a:off x="5500688" y="5386388"/>
              <a:ext cx="125413" cy="12700"/>
            </a:xfrm>
            <a:prstGeom prst="rect">
              <a:avLst/>
            </a:prstGeom>
            <a:solidFill>
              <a:srgbClr val="4D82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2" name="Rectangle 104"/>
            <p:cNvSpPr>
              <a:spLocks noChangeArrowheads="1"/>
            </p:cNvSpPr>
            <p:nvPr/>
          </p:nvSpPr>
          <p:spPr bwMode="auto">
            <a:xfrm>
              <a:off x="5500688" y="5386388"/>
              <a:ext cx="125413" cy="1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nvGrpSpPr>
          <p:cNvPr id="1358" name="Group 1357"/>
          <p:cNvGrpSpPr/>
          <p:nvPr/>
        </p:nvGrpSpPr>
        <p:grpSpPr>
          <a:xfrm>
            <a:off x="8059460" y="2129023"/>
            <a:ext cx="1925364" cy="1404739"/>
            <a:chOff x="8059738" y="2528888"/>
            <a:chExt cx="1925638" cy="1404938"/>
          </a:xfrm>
        </p:grpSpPr>
        <p:sp>
          <p:nvSpPr>
            <p:cNvPr id="1303" name="Freeform 105"/>
            <p:cNvSpPr>
              <a:spLocks/>
            </p:cNvSpPr>
            <p:nvPr/>
          </p:nvSpPr>
          <p:spPr bwMode="auto">
            <a:xfrm>
              <a:off x="8059738" y="2528888"/>
              <a:ext cx="1925638" cy="1404938"/>
            </a:xfrm>
            <a:custGeom>
              <a:avLst/>
              <a:gdLst>
                <a:gd name="T0" fmla="*/ 1551 w 1612"/>
                <a:gd name="T1" fmla="*/ 0 h 1175"/>
                <a:gd name="T2" fmla="*/ 61 w 1612"/>
                <a:gd name="T3" fmla="*/ 0 h 1175"/>
                <a:gd name="T4" fmla="*/ 0 w 1612"/>
                <a:gd name="T5" fmla="*/ 61 h 1175"/>
                <a:gd name="T6" fmla="*/ 0 w 1612"/>
                <a:gd name="T7" fmla="*/ 1114 h 1175"/>
                <a:gd name="T8" fmla="*/ 61 w 1612"/>
                <a:gd name="T9" fmla="*/ 1175 h 1175"/>
                <a:gd name="T10" fmla="*/ 1551 w 1612"/>
                <a:gd name="T11" fmla="*/ 1175 h 1175"/>
                <a:gd name="T12" fmla="*/ 1612 w 1612"/>
                <a:gd name="T13" fmla="*/ 1114 h 1175"/>
                <a:gd name="T14" fmla="*/ 1612 w 1612"/>
                <a:gd name="T15" fmla="*/ 61 h 1175"/>
                <a:gd name="T16" fmla="*/ 1551 w 1612"/>
                <a:gd name="T17" fmla="*/ 0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2" h="1175">
                  <a:moveTo>
                    <a:pt x="1551" y="0"/>
                  </a:moveTo>
                  <a:cubicBezTo>
                    <a:pt x="61" y="0"/>
                    <a:pt x="61" y="0"/>
                    <a:pt x="61" y="0"/>
                  </a:cubicBezTo>
                  <a:cubicBezTo>
                    <a:pt x="11" y="0"/>
                    <a:pt x="0" y="10"/>
                    <a:pt x="0" y="61"/>
                  </a:cubicBezTo>
                  <a:cubicBezTo>
                    <a:pt x="0" y="1114"/>
                    <a:pt x="0" y="1114"/>
                    <a:pt x="0" y="1114"/>
                  </a:cubicBezTo>
                  <a:cubicBezTo>
                    <a:pt x="0" y="1165"/>
                    <a:pt x="11" y="1175"/>
                    <a:pt x="61" y="1175"/>
                  </a:cubicBezTo>
                  <a:cubicBezTo>
                    <a:pt x="1551" y="1175"/>
                    <a:pt x="1551" y="1175"/>
                    <a:pt x="1551" y="1175"/>
                  </a:cubicBezTo>
                  <a:cubicBezTo>
                    <a:pt x="1602" y="1175"/>
                    <a:pt x="1612" y="1165"/>
                    <a:pt x="1612" y="1114"/>
                  </a:cubicBezTo>
                  <a:cubicBezTo>
                    <a:pt x="1612" y="61"/>
                    <a:pt x="1612" y="61"/>
                    <a:pt x="1612" y="61"/>
                  </a:cubicBezTo>
                  <a:cubicBezTo>
                    <a:pt x="1612" y="10"/>
                    <a:pt x="1602" y="0"/>
                    <a:pt x="1551" y="0"/>
                  </a:cubicBezTo>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4" name="Rectangle 106"/>
            <p:cNvSpPr>
              <a:spLocks noChangeArrowheads="1"/>
            </p:cNvSpPr>
            <p:nvPr/>
          </p:nvSpPr>
          <p:spPr bwMode="auto">
            <a:xfrm>
              <a:off x="8105775" y="2689225"/>
              <a:ext cx="1831975" cy="117951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5" name="Rectangle 107"/>
            <p:cNvSpPr>
              <a:spLocks noChangeArrowheads="1"/>
            </p:cNvSpPr>
            <p:nvPr/>
          </p:nvSpPr>
          <p:spPr bwMode="auto">
            <a:xfrm>
              <a:off x="8105775" y="2689225"/>
              <a:ext cx="1831975"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6" name="Rectangle 108"/>
            <p:cNvSpPr>
              <a:spLocks noChangeArrowheads="1"/>
            </p:cNvSpPr>
            <p:nvPr/>
          </p:nvSpPr>
          <p:spPr bwMode="auto">
            <a:xfrm>
              <a:off x="8359775" y="3616325"/>
              <a:ext cx="4921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7" name="Rectangle 109"/>
            <p:cNvSpPr>
              <a:spLocks noChangeArrowheads="1"/>
            </p:cNvSpPr>
            <p:nvPr/>
          </p:nvSpPr>
          <p:spPr bwMode="auto">
            <a:xfrm>
              <a:off x="8359775" y="3616325"/>
              <a:ext cx="49213"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8" name="Rectangle 110"/>
            <p:cNvSpPr>
              <a:spLocks noChangeArrowheads="1"/>
            </p:cNvSpPr>
            <p:nvPr/>
          </p:nvSpPr>
          <p:spPr bwMode="auto">
            <a:xfrm>
              <a:off x="8359775" y="3535363"/>
              <a:ext cx="49213"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09" name="Rectangle 111"/>
            <p:cNvSpPr>
              <a:spLocks noChangeArrowheads="1"/>
            </p:cNvSpPr>
            <p:nvPr/>
          </p:nvSpPr>
          <p:spPr bwMode="auto">
            <a:xfrm>
              <a:off x="8359775" y="3535363"/>
              <a:ext cx="49213"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0" name="Rectangle 112"/>
            <p:cNvSpPr>
              <a:spLocks noChangeArrowheads="1"/>
            </p:cNvSpPr>
            <p:nvPr/>
          </p:nvSpPr>
          <p:spPr bwMode="auto">
            <a:xfrm>
              <a:off x="8359775" y="3457575"/>
              <a:ext cx="4921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1" name="Rectangle 113"/>
            <p:cNvSpPr>
              <a:spLocks noChangeArrowheads="1"/>
            </p:cNvSpPr>
            <p:nvPr/>
          </p:nvSpPr>
          <p:spPr bwMode="auto">
            <a:xfrm>
              <a:off x="8359775" y="3457575"/>
              <a:ext cx="49213"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2" name="Rectangle 114"/>
            <p:cNvSpPr>
              <a:spLocks noChangeArrowheads="1"/>
            </p:cNvSpPr>
            <p:nvPr/>
          </p:nvSpPr>
          <p:spPr bwMode="auto">
            <a:xfrm>
              <a:off x="8359775" y="3378200"/>
              <a:ext cx="4921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3" name="Rectangle 115"/>
            <p:cNvSpPr>
              <a:spLocks noChangeArrowheads="1"/>
            </p:cNvSpPr>
            <p:nvPr/>
          </p:nvSpPr>
          <p:spPr bwMode="auto">
            <a:xfrm>
              <a:off x="8359775" y="3378200"/>
              <a:ext cx="49213"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4" name="Rectangle 116"/>
            <p:cNvSpPr>
              <a:spLocks noChangeArrowheads="1"/>
            </p:cNvSpPr>
            <p:nvPr/>
          </p:nvSpPr>
          <p:spPr bwMode="auto">
            <a:xfrm>
              <a:off x="8359775" y="3297238"/>
              <a:ext cx="49213"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5" name="Rectangle 117"/>
            <p:cNvSpPr>
              <a:spLocks noChangeArrowheads="1"/>
            </p:cNvSpPr>
            <p:nvPr/>
          </p:nvSpPr>
          <p:spPr bwMode="auto">
            <a:xfrm>
              <a:off x="8359775" y="3297238"/>
              <a:ext cx="49213"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6" name="Rectangle 118"/>
            <p:cNvSpPr>
              <a:spLocks noChangeArrowheads="1"/>
            </p:cNvSpPr>
            <p:nvPr/>
          </p:nvSpPr>
          <p:spPr bwMode="auto">
            <a:xfrm>
              <a:off x="8359775" y="3219450"/>
              <a:ext cx="4921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7" name="Rectangle 119"/>
            <p:cNvSpPr>
              <a:spLocks noChangeArrowheads="1"/>
            </p:cNvSpPr>
            <p:nvPr/>
          </p:nvSpPr>
          <p:spPr bwMode="auto">
            <a:xfrm>
              <a:off x="8359775" y="3219450"/>
              <a:ext cx="49213"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8" name="Rectangle 120"/>
            <p:cNvSpPr>
              <a:spLocks noChangeArrowheads="1"/>
            </p:cNvSpPr>
            <p:nvPr/>
          </p:nvSpPr>
          <p:spPr bwMode="auto">
            <a:xfrm>
              <a:off x="8359775" y="3138488"/>
              <a:ext cx="49213"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19" name="Freeform 121"/>
            <p:cNvSpPr>
              <a:spLocks/>
            </p:cNvSpPr>
            <p:nvPr/>
          </p:nvSpPr>
          <p:spPr bwMode="auto">
            <a:xfrm>
              <a:off x="8359775" y="3138488"/>
              <a:ext cx="49213" cy="7938"/>
            </a:xfrm>
            <a:custGeom>
              <a:avLst/>
              <a:gdLst>
                <a:gd name="T0" fmla="*/ 0 w 31"/>
                <a:gd name="T1" fmla="*/ 5 h 5"/>
                <a:gd name="T2" fmla="*/ 31 w 31"/>
                <a:gd name="T3" fmla="*/ 5 h 5"/>
                <a:gd name="T4" fmla="*/ 31 w 31"/>
                <a:gd name="T5" fmla="*/ 0 h 5"/>
                <a:gd name="T6" fmla="*/ 0 w 31"/>
                <a:gd name="T7" fmla="*/ 0 h 5"/>
              </a:gdLst>
              <a:ahLst/>
              <a:cxnLst>
                <a:cxn ang="0">
                  <a:pos x="T0" y="T1"/>
                </a:cxn>
                <a:cxn ang="0">
                  <a:pos x="T2" y="T3"/>
                </a:cxn>
                <a:cxn ang="0">
                  <a:pos x="T4" y="T5"/>
                </a:cxn>
                <a:cxn ang="0">
                  <a:pos x="T6" y="T7"/>
                </a:cxn>
              </a:cxnLst>
              <a:rect l="0" t="0" r="r" b="b"/>
              <a:pathLst>
                <a:path w="31" h="5">
                  <a:moveTo>
                    <a:pt x="0" y="5"/>
                  </a:moveTo>
                  <a:lnTo>
                    <a:pt x="31" y="5"/>
                  </a:lnTo>
                  <a:lnTo>
                    <a:pt x="3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0" name="Freeform 122"/>
            <p:cNvSpPr>
              <a:spLocks/>
            </p:cNvSpPr>
            <p:nvPr/>
          </p:nvSpPr>
          <p:spPr bwMode="auto">
            <a:xfrm>
              <a:off x="8416925" y="2863850"/>
              <a:ext cx="1241425" cy="641350"/>
            </a:xfrm>
            <a:custGeom>
              <a:avLst/>
              <a:gdLst>
                <a:gd name="T0" fmla="*/ 532 w 782"/>
                <a:gd name="T1" fmla="*/ 0 h 404"/>
                <a:gd name="T2" fmla="*/ 389 w 782"/>
                <a:gd name="T3" fmla="*/ 236 h 404"/>
                <a:gd name="T4" fmla="*/ 313 w 782"/>
                <a:gd name="T5" fmla="*/ 251 h 404"/>
                <a:gd name="T6" fmla="*/ 173 w 782"/>
                <a:gd name="T7" fmla="*/ 212 h 404"/>
                <a:gd name="T8" fmla="*/ 91 w 782"/>
                <a:gd name="T9" fmla="*/ 280 h 404"/>
                <a:gd name="T10" fmla="*/ 0 w 782"/>
                <a:gd name="T11" fmla="*/ 217 h 404"/>
                <a:gd name="T12" fmla="*/ 0 w 782"/>
                <a:gd name="T13" fmla="*/ 332 h 404"/>
                <a:gd name="T14" fmla="*/ 91 w 782"/>
                <a:gd name="T15" fmla="*/ 332 h 404"/>
                <a:gd name="T16" fmla="*/ 182 w 782"/>
                <a:gd name="T17" fmla="*/ 404 h 404"/>
                <a:gd name="T18" fmla="*/ 319 w 782"/>
                <a:gd name="T19" fmla="*/ 287 h 404"/>
                <a:gd name="T20" fmla="*/ 427 w 782"/>
                <a:gd name="T21" fmla="*/ 276 h 404"/>
                <a:gd name="T22" fmla="*/ 524 w 782"/>
                <a:gd name="T23" fmla="*/ 185 h 404"/>
                <a:gd name="T24" fmla="*/ 630 w 782"/>
                <a:gd name="T25" fmla="*/ 111 h 404"/>
                <a:gd name="T26" fmla="*/ 782 w 782"/>
                <a:gd name="T27" fmla="*/ 162 h 404"/>
                <a:gd name="T28" fmla="*/ 782 w 782"/>
                <a:gd name="T29" fmla="*/ 111 h 404"/>
                <a:gd name="T30" fmla="*/ 630 w 782"/>
                <a:gd name="T31" fmla="*/ 69 h 404"/>
                <a:gd name="T32" fmla="*/ 532 w 782"/>
                <a:gd name="T3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2" h="404">
                  <a:moveTo>
                    <a:pt x="532" y="0"/>
                  </a:moveTo>
                  <a:lnTo>
                    <a:pt x="389" y="236"/>
                  </a:lnTo>
                  <a:lnTo>
                    <a:pt x="313" y="251"/>
                  </a:lnTo>
                  <a:lnTo>
                    <a:pt x="173" y="212"/>
                  </a:lnTo>
                  <a:lnTo>
                    <a:pt x="91" y="280"/>
                  </a:lnTo>
                  <a:lnTo>
                    <a:pt x="0" y="217"/>
                  </a:lnTo>
                  <a:lnTo>
                    <a:pt x="0" y="332"/>
                  </a:lnTo>
                  <a:lnTo>
                    <a:pt x="91" y="332"/>
                  </a:lnTo>
                  <a:lnTo>
                    <a:pt x="182" y="404"/>
                  </a:lnTo>
                  <a:lnTo>
                    <a:pt x="319" y="287"/>
                  </a:lnTo>
                  <a:lnTo>
                    <a:pt x="427" y="276"/>
                  </a:lnTo>
                  <a:lnTo>
                    <a:pt x="524" y="185"/>
                  </a:lnTo>
                  <a:lnTo>
                    <a:pt x="630" y="111"/>
                  </a:lnTo>
                  <a:lnTo>
                    <a:pt x="782" y="162"/>
                  </a:lnTo>
                  <a:lnTo>
                    <a:pt x="782" y="111"/>
                  </a:lnTo>
                  <a:lnTo>
                    <a:pt x="630" y="69"/>
                  </a:lnTo>
                  <a:lnTo>
                    <a:pt x="532" y="0"/>
                  </a:lnTo>
                  <a:close/>
                </a:path>
              </a:pathLst>
            </a:custGeom>
            <a:solidFill>
              <a:srgbClr val="576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1" name="Freeform 123"/>
            <p:cNvSpPr>
              <a:spLocks/>
            </p:cNvSpPr>
            <p:nvPr/>
          </p:nvSpPr>
          <p:spPr bwMode="auto">
            <a:xfrm>
              <a:off x="8416925" y="2863850"/>
              <a:ext cx="1241425" cy="641350"/>
            </a:xfrm>
            <a:custGeom>
              <a:avLst/>
              <a:gdLst>
                <a:gd name="T0" fmla="*/ 532 w 782"/>
                <a:gd name="T1" fmla="*/ 0 h 404"/>
                <a:gd name="T2" fmla="*/ 389 w 782"/>
                <a:gd name="T3" fmla="*/ 236 h 404"/>
                <a:gd name="T4" fmla="*/ 313 w 782"/>
                <a:gd name="T5" fmla="*/ 251 h 404"/>
                <a:gd name="T6" fmla="*/ 173 w 782"/>
                <a:gd name="T7" fmla="*/ 212 h 404"/>
                <a:gd name="T8" fmla="*/ 91 w 782"/>
                <a:gd name="T9" fmla="*/ 280 h 404"/>
                <a:gd name="T10" fmla="*/ 0 w 782"/>
                <a:gd name="T11" fmla="*/ 217 h 404"/>
                <a:gd name="T12" fmla="*/ 0 w 782"/>
                <a:gd name="T13" fmla="*/ 332 h 404"/>
                <a:gd name="T14" fmla="*/ 91 w 782"/>
                <a:gd name="T15" fmla="*/ 332 h 404"/>
                <a:gd name="T16" fmla="*/ 182 w 782"/>
                <a:gd name="T17" fmla="*/ 404 h 404"/>
                <a:gd name="T18" fmla="*/ 319 w 782"/>
                <a:gd name="T19" fmla="*/ 287 h 404"/>
                <a:gd name="T20" fmla="*/ 427 w 782"/>
                <a:gd name="T21" fmla="*/ 276 h 404"/>
                <a:gd name="T22" fmla="*/ 524 w 782"/>
                <a:gd name="T23" fmla="*/ 185 h 404"/>
                <a:gd name="T24" fmla="*/ 630 w 782"/>
                <a:gd name="T25" fmla="*/ 111 h 404"/>
                <a:gd name="T26" fmla="*/ 782 w 782"/>
                <a:gd name="T27" fmla="*/ 162 h 404"/>
                <a:gd name="T28" fmla="*/ 782 w 782"/>
                <a:gd name="T29" fmla="*/ 111 h 404"/>
                <a:gd name="T30" fmla="*/ 630 w 782"/>
                <a:gd name="T31" fmla="*/ 69 h 404"/>
                <a:gd name="T32" fmla="*/ 532 w 782"/>
                <a:gd name="T3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2" h="404">
                  <a:moveTo>
                    <a:pt x="532" y="0"/>
                  </a:moveTo>
                  <a:lnTo>
                    <a:pt x="389" y="236"/>
                  </a:lnTo>
                  <a:lnTo>
                    <a:pt x="313" y="251"/>
                  </a:lnTo>
                  <a:lnTo>
                    <a:pt x="173" y="212"/>
                  </a:lnTo>
                  <a:lnTo>
                    <a:pt x="91" y="280"/>
                  </a:lnTo>
                  <a:lnTo>
                    <a:pt x="0" y="217"/>
                  </a:lnTo>
                  <a:lnTo>
                    <a:pt x="0" y="332"/>
                  </a:lnTo>
                  <a:lnTo>
                    <a:pt x="91" y="332"/>
                  </a:lnTo>
                  <a:lnTo>
                    <a:pt x="182" y="404"/>
                  </a:lnTo>
                  <a:lnTo>
                    <a:pt x="319" y="287"/>
                  </a:lnTo>
                  <a:lnTo>
                    <a:pt x="427" y="276"/>
                  </a:lnTo>
                  <a:lnTo>
                    <a:pt x="524" y="185"/>
                  </a:lnTo>
                  <a:lnTo>
                    <a:pt x="630" y="111"/>
                  </a:lnTo>
                  <a:lnTo>
                    <a:pt x="782" y="162"/>
                  </a:lnTo>
                  <a:lnTo>
                    <a:pt x="782" y="111"/>
                  </a:lnTo>
                  <a:lnTo>
                    <a:pt x="630" y="69"/>
                  </a:lnTo>
                  <a:lnTo>
                    <a:pt x="5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2" name="Freeform 124"/>
            <p:cNvSpPr>
              <a:spLocks/>
            </p:cNvSpPr>
            <p:nvPr/>
          </p:nvSpPr>
          <p:spPr bwMode="auto">
            <a:xfrm>
              <a:off x="8399463" y="3078163"/>
              <a:ext cx="1292225" cy="628650"/>
            </a:xfrm>
            <a:custGeom>
              <a:avLst/>
              <a:gdLst>
                <a:gd name="T0" fmla="*/ 0 w 1082"/>
                <a:gd name="T1" fmla="*/ 8 h 526"/>
                <a:gd name="T2" fmla="*/ 0 w 1082"/>
                <a:gd name="T3" fmla="*/ 519 h 526"/>
                <a:gd name="T4" fmla="*/ 2 w 1082"/>
                <a:gd name="T5" fmla="*/ 524 h 526"/>
                <a:gd name="T6" fmla="*/ 8 w 1082"/>
                <a:gd name="T7" fmla="*/ 526 h 526"/>
                <a:gd name="T8" fmla="*/ 1075 w 1082"/>
                <a:gd name="T9" fmla="*/ 526 h 526"/>
                <a:gd name="T10" fmla="*/ 1082 w 1082"/>
                <a:gd name="T11" fmla="*/ 519 h 526"/>
                <a:gd name="T12" fmla="*/ 1075 w 1082"/>
                <a:gd name="T13" fmla="*/ 511 h 526"/>
                <a:gd name="T14" fmla="*/ 15 w 1082"/>
                <a:gd name="T15" fmla="*/ 511 h 526"/>
                <a:gd name="T16" fmla="*/ 15 w 1082"/>
                <a:gd name="T17" fmla="*/ 8 h 526"/>
                <a:gd name="T18" fmla="*/ 8 w 1082"/>
                <a:gd name="T19" fmla="*/ 0 h 526"/>
                <a:gd name="T20" fmla="*/ 0 w 1082"/>
                <a:gd name="T21" fmla="*/ 8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2" h="526">
                  <a:moveTo>
                    <a:pt x="0" y="8"/>
                  </a:moveTo>
                  <a:cubicBezTo>
                    <a:pt x="0" y="519"/>
                    <a:pt x="0" y="519"/>
                    <a:pt x="0" y="519"/>
                  </a:cubicBezTo>
                  <a:cubicBezTo>
                    <a:pt x="0" y="521"/>
                    <a:pt x="1" y="523"/>
                    <a:pt x="2" y="524"/>
                  </a:cubicBezTo>
                  <a:cubicBezTo>
                    <a:pt x="4" y="525"/>
                    <a:pt x="6" y="526"/>
                    <a:pt x="8" y="526"/>
                  </a:cubicBezTo>
                  <a:cubicBezTo>
                    <a:pt x="1075" y="526"/>
                    <a:pt x="1075" y="526"/>
                    <a:pt x="1075" y="526"/>
                  </a:cubicBezTo>
                  <a:cubicBezTo>
                    <a:pt x="1079" y="526"/>
                    <a:pt x="1082" y="523"/>
                    <a:pt x="1082" y="519"/>
                  </a:cubicBezTo>
                  <a:cubicBezTo>
                    <a:pt x="1082" y="515"/>
                    <a:pt x="1079" y="511"/>
                    <a:pt x="1075" y="511"/>
                  </a:cubicBezTo>
                  <a:cubicBezTo>
                    <a:pt x="15" y="511"/>
                    <a:pt x="15" y="511"/>
                    <a:pt x="15" y="511"/>
                  </a:cubicBezTo>
                  <a:cubicBezTo>
                    <a:pt x="15" y="8"/>
                    <a:pt x="15" y="8"/>
                    <a:pt x="15" y="8"/>
                  </a:cubicBezTo>
                  <a:cubicBezTo>
                    <a:pt x="15" y="4"/>
                    <a:pt x="12" y="0"/>
                    <a:pt x="8" y="0"/>
                  </a:cubicBezTo>
                  <a:cubicBezTo>
                    <a:pt x="3" y="0"/>
                    <a:pt x="0" y="4"/>
                    <a:pt x="0"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3" name="Freeform 125"/>
            <p:cNvSpPr>
              <a:spLocks/>
            </p:cNvSpPr>
            <p:nvPr/>
          </p:nvSpPr>
          <p:spPr bwMode="auto">
            <a:xfrm>
              <a:off x="8416925" y="3040063"/>
              <a:ext cx="1241425" cy="577850"/>
            </a:xfrm>
            <a:custGeom>
              <a:avLst/>
              <a:gdLst>
                <a:gd name="T0" fmla="*/ 630 w 782"/>
                <a:gd name="T1" fmla="*/ 0 h 364"/>
                <a:gd name="T2" fmla="*/ 524 w 782"/>
                <a:gd name="T3" fmla="*/ 74 h 364"/>
                <a:gd name="T4" fmla="*/ 427 w 782"/>
                <a:gd name="T5" fmla="*/ 165 h 364"/>
                <a:gd name="T6" fmla="*/ 319 w 782"/>
                <a:gd name="T7" fmla="*/ 176 h 364"/>
                <a:gd name="T8" fmla="*/ 182 w 782"/>
                <a:gd name="T9" fmla="*/ 293 h 364"/>
                <a:gd name="T10" fmla="*/ 91 w 782"/>
                <a:gd name="T11" fmla="*/ 221 h 364"/>
                <a:gd name="T12" fmla="*/ 0 w 782"/>
                <a:gd name="T13" fmla="*/ 221 h 364"/>
                <a:gd name="T14" fmla="*/ 0 w 782"/>
                <a:gd name="T15" fmla="*/ 292 h 364"/>
                <a:gd name="T16" fmla="*/ 91 w 782"/>
                <a:gd name="T17" fmla="*/ 311 h 364"/>
                <a:gd name="T18" fmla="*/ 182 w 782"/>
                <a:gd name="T19" fmla="*/ 364 h 364"/>
                <a:gd name="T20" fmla="*/ 319 w 782"/>
                <a:gd name="T21" fmla="*/ 311 h 364"/>
                <a:gd name="T22" fmla="*/ 354 w 782"/>
                <a:gd name="T23" fmla="*/ 210 h 364"/>
                <a:gd name="T24" fmla="*/ 536 w 782"/>
                <a:gd name="T25" fmla="*/ 182 h 364"/>
                <a:gd name="T26" fmla="*/ 630 w 782"/>
                <a:gd name="T27" fmla="*/ 40 h 364"/>
                <a:gd name="T28" fmla="*/ 782 w 782"/>
                <a:gd name="T29" fmla="*/ 182 h 364"/>
                <a:gd name="T30" fmla="*/ 782 w 782"/>
                <a:gd name="T31" fmla="*/ 51 h 364"/>
                <a:gd name="T32" fmla="*/ 630 w 782"/>
                <a:gd name="T3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2" h="364">
                  <a:moveTo>
                    <a:pt x="630" y="0"/>
                  </a:moveTo>
                  <a:lnTo>
                    <a:pt x="524" y="74"/>
                  </a:lnTo>
                  <a:lnTo>
                    <a:pt x="427" y="165"/>
                  </a:lnTo>
                  <a:lnTo>
                    <a:pt x="319" y="176"/>
                  </a:lnTo>
                  <a:lnTo>
                    <a:pt x="182" y="293"/>
                  </a:lnTo>
                  <a:lnTo>
                    <a:pt x="91" y="221"/>
                  </a:lnTo>
                  <a:lnTo>
                    <a:pt x="0" y="221"/>
                  </a:lnTo>
                  <a:lnTo>
                    <a:pt x="0" y="292"/>
                  </a:lnTo>
                  <a:lnTo>
                    <a:pt x="91" y="311"/>
                  </a:lnTo>
                  <a:lnTo>
                    <a:pt x="182" y="364"/>
                  </a:lnTo>
                  <a:lnTo>
                    <a:pt x="319" y="311"/>
                  </a:lnTo>
                  <a:lnTo>
                    <a:pt x="354" y="210"/>
                  </a:lnTo>
                  <a:lnTo>
                    <a:pt x="536" y="182"/>
                  </a:lnTo>
                  <a:lnTo>
                    <a:pt x="630" y="40"/>
                  </a:lnTo>
                  <a:lnTo>
                    <a:pt x="782" y="182"/>
                  </a:lnTo>
                  <a:lnTo>
                    <a:pt x="782" y="51"/>
                  </a:lnTo>
                  <a:lnTo>
                    <a:pt x="630" y="0"/>
                  </a:lnTo>
                  <a:close/>
                </a:path>
              </a:pathLst>
            </a:custGeom>
            <a:solidFill>
              <a:srgbClr val="507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4" name="Freeform 126"/>
            <p:cNvSpPr>
              <a:spLocks/>
            </p:cNvSpPr>
            <p:nvPr/>
          </p:nvSpPr>
          <p:spPr bwMode="auto">
            <a:xfrm>
              <a:off x="8416925" y="3040063"/>
              <a:ext cx="1241425" cy="577850"/>
            </a:xfrm>
            <a:custGeom>
              <a:avLst/>
              <a:gdLst>
                <a:gd name="T0" fmla="*/ 630 w 782"/>
                <a:gd name="T1" fmla="*/ 0 h 364"/>
                <a:gd name="T2" fmla="*/ 524 w 782"/>
                <a:gd name="T3" fmla="*/ 74 h 364"/>
                <a:gd name="T4" fmla="*/ 427 w 782"/>
                <a:gd name="T5" fmla="*/ 165 h 364"/>
                <a:gd name="T6" fmla="*/ 319 w 782"/>
                <a:gd name="T7" fmla="*/ 176 h 364"/>
                <a:gd name="T8" fmla="*/ 182 w 782"/>
                <a:gd name="T9" fmla="*/ 293 h 364"/>
                <a:gd name="T10" fmla="*/ 91 w 782"/>
                <a:gd name="T11" fmla="*/ 221 h 364"/>
                <a:gd name="T12" fmla="*/ 0 w 782"/>
                <a:gd name="T13" fmla="*/ 221 h 364"/>
                <a:gd name="T14" fmla="*/ 0 w 782"/>
                <a:gd name="T15" fmla="*/ 292 h 364"/>
                <a:gd name="T16" fmla="*/ 91 w 782"/>
                <a:gd name="T17" fmla="*/ 311 h 364"/>
                <a:gd name="T18" fmla="*/ 182 w 782"/>
                <a:gd name="T19" fmla="*/ 364 h 364"/>
                <a:gd name="T20" fmla="*/ 319 w 782"/>
                <a:gd name="T21" fmla="*/ 311 h 364"/>
                <a:gd name="T22" fmla="*/ 354 w 782"/>
                <a:gd name="T23" fmla="*/ 210 h 364"/>
                <a:gd name="T24" fmla="*/ 536 w 782"/>
                <a:gd name="T25" fmla="*/ 182 h 364"/>
                <a:gd name="T26" fmla="*/ 630 w 782"/>
                <a:gd name="T27" fmla="*/ 40 h 364"/>
                <a:gd name="T28" fmla="*/ 782 w 782"/>
                <a:gd name="T29" fmla="*/ 182 h 364"/>
                <a:gd name="T30" fmla="*/ 782 w 782"/>
                <a:gd name="T31" fmla="*/ 51 h 364"/>
                <a:gd name="T32" fmla="*/ 630 w 782"/>
                <a:gd name="T3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2" h="364">
                  <a:moveTo>
                    <a:pt x="630" y="0"/>
                  </a:moveTo>
                  <a:lnTo>
                    <a:pt x="524" y="74"/>
                  </a:lnTo>
                  <a:lnTo>
                    <a:pt x="427" y="165"/>
                  </a:lnTo>
                  <a:lnTo>
                    <a:pt x="319" y="176"/>
                  </a:lnTo>
                  <a:lnTo>
                    <a:pt x="182" y="293"/>
                  </a:lnTo>
                  <a:lnTo>
                    <a:pt x="91" y="221"/>
                  </a:lnTo>
                  <a:lnTo>
                    <a:pt x="0" y="221"/>
                  </a:lnTo>
                  <a:lnTo>
                    <a:pt x="0" y="292"/>
                  </a:lnTo>
                  <a:lnTo>
                    <a:pt x="91" y="311"/>
                  </a:lnTo>
                  <a:lnTo>
                    <a:pt x="182" y="364"/>
                  </a:lnTo>
                  <a:lnTo>
                    <a:pt x="319" y="311"/>
                  </a:lnTo>
                  <a:lnTo>
                    <a:pt x="354" y="210"/>
                  </a:lnTo>
                  <a:lnTo>
                    <a:pt x="536" y="182"/>
                  </a:lnTo>
                  <a:lnTo>
                    <a:pt x="630" y="40"/>
                  </a:lnTo>
                  <a:lnTo>
                    <a:pt x="782" y="182"/>
                  </a:lnTo>
                  <a:lnTo>
                    <a:pt x="782" y="51"/>
                  </a:lnTo>
                  <a:lnTo>
                    <a:pt x="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5" name="Freeform 127"/>
            <p:cNvSpPr>
              <a:spLocks/>
            </p:cNvSpPr>
            <p:nvPr/>
          </p:nvSpPr>
          <p:spPr bwMode="auto">
            <a:xfrm>
              <a:off x="8408988" y="3390900"/>
              <a:ext cx="1249363" cy="307975"/>
            </a:xfrm>
            <a:custGeom>
              <a:avLst/>
              <a:gdLst>
                <a:gd name="T0" fmla="*/ 5 w 787"/>
                <a:gd name="T1" fmla="*/ 0 h 194"/>
                <a:gd name="T2" fmla="*/ 0 w 787"/>
                <a:gd name="T3" fmla="*/ 0 h 194"/>
                <a:gd name="T4" fmla="*/ 0 w 787"/>
                <a:gd name="T5" fmla="*/ 194 h 194"/>
                <a:gd name="T6" fmla="*/ 787 w 787"/>
                <a:gd name="T7" fmla="*/ 194 h 194"/>
                <a:gd name="T8" fmla="*/ 0 w 787"/>
                <a:gd name="T9" fmla="*/ 194 h 194"/>
                <a:gd name="T10" fmla="*/ 0 w 787"/>
                <a:gd name="T11" fmla="*/ 69 h 194"/>
                <a:gd name="T12" fmla="*/ 5 w 787"/>
                <a:gd name="T13" fmla="*/ 71 h 194"/>
                <a:gd name="T14" fmla="*/ 5 w 787"/>
                <a:gd name="T15" fmla="*/ 0 h 1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7" h="194">
                  <a:moveTo>
                    <a:pt x="5" y="0"/>
                  </a:moveTo>
                  <a:lnTo>
                    <a:pt x="0" y="0"/>
                  </a:lnTo>
                  <a:lnTo>
                    <a:pt x="0" y="194"/>
                  </a:lnTo>
                  <a:lnTo>
                    <a:pt x="787" y="194"/>
                  </a:lnTo>
                  <a:lnTo>
                    <a:pt x="0" y="194"/>
                  </a:lnTo>
                  <a:lnTo>
                    <a:pt x="0" y="69"/>
                  </a:lnTo>
                  <a:lnTo>
                    <a:pt x="5" y="71"/>
                  </a:lnTo>
                  <a:lnTo>
                    <a:pt x="5" y="0"/>
                  </a:lnTo>
                  <a:close/>
                </a:path>
              </a:pathLst>
            </a:custGeom>
            <a:solidFill>
              <a:srgbClr val="CE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6" name="Freeform 128"/>
            <p:cNvSpPr>
              <a:spLocks/>
            </p:cNvSpPr>
            <p:nvPr/>
          </p:nvSpPr>
          <p:spPr bwMode="auto">
            <a:xfrm>
              <a:off x="8408988" y="3390900"/>
              <a:ext cx="1249363" cy="307975"/>
            </a:xfrm>
            <a:custGeom>
              <a:avLst/>
              <a:gdLst>
                <a:gd name="T0" fmla="*/ 5 w 787"/>
                <a:gd name="T1" fmla="*/ 0 h 194"/>
                <a:gd name="T2" fmla="*/ 0 w 787"/>
                <a:gd name="T3" fmla="*/ 0 h 194"/>
                <a:gd name="T4" fmla="*/ 0 w 787"/>
                <a:gd name="T5" fmla="*/ 194 h 194"/>
                <a:gd name="T6" fmla="*/ 787 w 787"/>
                <a:gd name="T7" fmla="*/ 194 h 194"/>
                <a:gd name="T8" fmla="*/ 0 w 787"/>
                <a:gd name="T9" fmla="*/ 194 h 194"/>
                <a:gd name="T10" fmla="*/ 0 w 787"/>
                <a:gd name="T11" fmla="*/ 69 h 194"/>
                <a:gd name="T12" fmla="*/ 5 w 787"/>
                <a:gd name="T13" fmla="*/ 71 h 194"/>
                <a:gd name="T14" fmla="*/ 5 w 787"/>
                <a:gd name="T15" fmla="*/ 0 h 1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7" h="194">
                  <a:moveTo>
                    <a:pt x="5" y="0"/>
                  </a:moveTo>
                  <a:lnTo>
                    <a:pt x="0" y="0"/>
                  </a:lnTo>
                  <a:lnTo>
                    <a:pt x="0" y="194"/>
                  </a:lnTo>
                  <a:lnTo>
                    <a:pt x="787" y="194"/>
                  </a:lnTo>
                  <a:lnTo>
                    <a:pt x="0" y="194"/>
                  </a:lnTo>
                  <a:lnTo>
                    <a:pt x="0" y="69"/>
                  </a:lnTo>
                  <a:lnTo>
                    <a:pt x="5" y="71"/>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7" name="Freeform 129"/>
            <p:cNvSpPr>
              <a:spLocks/>
            </p:cNvSpPr>
            <p:nvPr/>
          </p:nvSpPr>
          <p:spPr bwMode="auto">
            <a:xfrm>
              <a:off x="8416925" y="3103563"/>
              <a:ext cx="1241425" cy="585788"/>
            </a:xfrm>
            <a:custGeom>
              <a:avLst/>
              <a:gdLst>
                <a:gd name="T0" fmla="*/ 630 w 782"/>
                <a:gd name="T1" fmla="*/ 0 h 369"/>
                <a:gd name="T2" fmla="*/ 536 w 782"/>
                <a:gd name="T3" fmla="*/ 142 h 369"/>
                <a:gd name="T4" fmla="*/ 354 w 782"/>
                <a:gd name="T5" fmla="*/ 170 h 369"/>
                <a:gd name="T6" fmla="*/ 319 w 782"/>
                <a:gd name="T7" fmla="*/ 271 h 369"/>
                <a:gd name="T8" fmla="*/ 182 w 782"/>
                <a:gd name="T9" fmla="*/ 324 h 369"/>
                <a:gd name="T10" fmla="*/ 91 w 782"/>
                <a:gd name="T11" fmla="*/ 271 h 369"/>
                <a:gd name="T12" fmla="*/ 0 w 782"/>
                <a:gd name="T13" fmla="*/ 252 h 369"/>
                <a:gd name="T14" fmla="*/ 0 w 782"/>
                <a:gd name="T15" fmla="*/ 369 h 369"/>
                <a:gd name="T16" fmla="*/ 782 w 782"/>
                <a:gd name="T17" fmla="*/ 369 h 369"/>
                <a:gd name="T18" fmla="*/ 782 w 782"/>
                <a:gd name="T19" fmla="*/ 142 h 369"/>
                <a:gd name="T20" fmla="*/ 630 w 782"/>
                <a:gd name="T2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369">
                  <a:moveTo>
                    <a:pt x="630" y="0"/>
                  </a:moveTo>
                  <a:lnTo>
                    <a:pt x="536" y="142"/>
                  </a:lnTo>
                  <a:lnTo>
                    <a:pt x="354" y="170"/>
                  </a:lnTo>
                  <a:lnTo>
                    <a:pt x="319" y="271"/>
                  </a:lnTo>
                  <a:lnTo>
                    <a:pt x="182" y="324"/>
                  </a:lnTo>
                  <a:lnTo>
                    <a:pt x="91" y="271"/>
                  </a:lnTo>
                  <a:lnTo>
                    <a:pt x="0" y="252"/>
                  </a:lnTo>
                  <a:lnTo>
                    <a:pt x="0" y="369"/>
                  </a:lnTo>
                  <a:lnTo>
                    <a:pt x="782" y="369"/>
                  </a:lnTo>
                  <a:lnTo>
                    <a:pt x="782" y="142"/>
                  </a:lnTo>
                  <a:lnTo>
                    <a:pt x="630" y="0"/>
                  </a:lnTo>
                  <a:close/>
                </a:path>
              </a:pathLst>
            </a:custGeom>
            <a:solidFill>
              <a:srgbClr val="488B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8" name="Freeform 130"/>
            <p:cNvSpPr>
              <a:spLocks/>
            </p:cNvSpPr>
            <p:nvPr/>
          </p:nvSpPr>
          <p:spPr bwMode="auto">
            <a:xfrm>
              <a:off x="8416925" y="3103563"/>
              <a:ext cx="1241425" cy="585788"/>
            </a:xfrm>
            <a:custGeom>
              <a:avLst/>
              <a:gdLst>
                <a:gd name="T0" fmla="*/ 630 w 782"/>
                <a:gd name="T1" fmla="*/ 0 h 369"/>
                <a:gd name="T2" fmla="*/ 536 w 782"/>
                <a:gd name="T3" fmla="*/ 142 h 369"/>
                <a:gd name="T4" fmla="*/ 354 w 782"/>
                <a:gd name="T5" fmla="*/ 170 h 369"/>
                <a:gd name="T6" fmla="*/ 319 w 782"/>
                <a:gd name="T7" fmla="*/ 271 h 369"/>
                <a:gd name="T8" fmla="*/ 182 w 782"/>
                <a:gd name="T9" fmla="*/ 324 h 369"/>
                <a:gd name="T10" fmla="*/ 91 w 782"/>
                <a:gd name="T11" fmla="*/ 271 h 369"/>
                <a:gd name="T12" fmla="*/ 0 w 782"/>
                <a:gd name="T13" fmla="*/ 252 h 369"/>
                <a:gd name="T14" fmla="*/ 0 w 782"/>
                <a:gd name="T15" fmla="*/ 369 h 369"/>
                <a:gd name="T16" fmla="*/ 782 w 782"/>
                <a:gd name="T17" fmla="*/ 369 h 369"/>
                <a:gd name="T18" fmla="*/ 782 w 782"/>
                <a:gd name="T19" fmla="*/ 142 h 369"/>
                <a:gd name="T20" fmla="*/ 630 w 782"/>
                <a:gd name="T2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369">
                  <a:moveTo>
                    <a:pt x="630" y="0"/>
                  </a:moveTo>
                  <a:lnTo>
                    <a:pt x="536" y="142"/>
                  </a:lnTo>
                  <a:lnTo>
                    <a:pt x="354" y="170"/>
                  </a:lnTo>
                  <a:lnTo>
                    <a:pt x="319" y="271"/>
                  </a:lnTo>
                  <a:lnTo>
                    <a:pt x="182" y="324"/>
                  </a:lnTo>
                  <a:lnTo>
                    <a:pt x="91" y="271"/>
                  </a:lnTo>
                  <a:lnTo>
                    <a:pt x="0" y="252"/>
                  </a:lnTo>
                  <a:lnTo>
                    <a:pt x="0" y="369"/>
                  </a:lnTo>
                  <a:lnTo>
                    <a:pt x="782" y="369"/>
                  </a:lnTo>
                  <a:lnTo>
                    <a:pt x="782" y="142"/>
                  </a:lnTo>
                  <a:lnTo>
                    <a:pt x="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29" name="Freeform 131"/>
            <p:cNvSpPr>
              <a:spLocks/>
            </p:cNvSpPr>
            <p:nvPr/>
          </p:nvSpPr>
          <p:spPr bwMode="auto">
            <a:xfrm>
              <a:off x="8408988" y="3500438"/>
              <a:ext cx="1249363" cy="198438"/>
            </a:xfrm>
            <a:custGeom>
              <a:avLst/>
              <a:gdLst>
                <a:gd name="T0" fmla="*/ 0 w 787"/>
                <a:gd name="T1" fmla="*/ 0 h 125"/>
                <a:gd name="T2" fmla="*/ 0 w 787"/>
                <a:gd name="T3" fmla="*/ 125 h 125"/>
                <a:gd name="T4" fmla="*/ 787 w 787"/>
                <a:gd name="T5" fmla="*/ 125 h 125"/>
                <a:gd name="T6" fmla="*/ 787 w 787"/>
                <a:gd name="T7" fmla="*/ 119 h 125"/>
                <a:gd name="T8" fmla="*/ 5 w 787"/>
                <a:gd name="T9" fmla="*/ 119 h 125"/>
                <a:gd name="T10" fmla="*/ 5 w 787"/>
                <a:gd name="T11" fmla="*/ 2 h 125"/>
                <a:gd name="T12" fmla="*/ 0 w 787"/>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787" h="125">
                  <a:moveTo>
                    <a:pt x="0" y="0"/>
                  </a:moveTo>
                  <a:lnTo>
                    <a:pt x="0" y="125"/>
                  </a:lnTo>
                  <a:lnTo>
                    <a:pt x="787" y="125"/>
                  </a:lnTo>
                  <a:lnTo>
                    <a:pt x="787" y="119"/>
                  </a:lnTo>
                  <a:lnTo>
                    <a:pt x="5" y="119"/>
                  </a:lnTo>
                  <a:lnTo>
                    <a:pt x="5" y="2"/>
                  </a:lnTo>
                  <a:lnTo>
                    <a:pt x="0" y="0"/>
                  </a:lnTo>
                  <a:close/>
                </a:path>
              </a:pathLst>
            </a:custGeom>
            <a:solidFill>
              <a:srgbClr val="97D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0" name="Freeform 132"/>
            <p:cNvSpPr>
              <a:spLocks/>
            </p:cNvSpPr>
            <p:nvPr/>
          </p:nvSpPr>
          <p:spPr bwMode="auto">
            <a:xfrm>
              <a:off x="8408988" y="3500438"/>
              <a:ext cx="1249363" cy="198438"/>
            </a:xfrm>
            <a:custGeom>
              <a:avLst/>
              <a:gdLst>
                <a:gd name="T0" fmla="*/ 0 w 787"/>
                <a:gd name="T1" fmla="*/ 0 h 125"/>
                <a:gd name="T2" fmla="*/ 0 w 787"/>
                <a:gd name="T3" fmla="*/ 125 h 125"/>
                <a:gd name="T4" fmla="*/ 787 w 787"/>
                <a:gd name="T5" fmla="*/ 125 h 125"/>
                <a:gd name="T6" fmla="*/ 787 w 787"/>
                <a:gd name="T7" fmla="*/ 119 h 125"/>
                <a:gd name="T8" fmla="*/ 5 w 787"/>
                <a:gd name="T9" fmla="*/ 119 h 125"/>
                <a:gd name="T10" fmla="*/ 5 w 787"/>
                <a:gd name="T11" fmla="*/ 2 h 125"/>
                <a:gd name="T12" fmla="*/ 0 w 787"/>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787" h="125">
                  <a:moveTo>
                    <a:pt x="0" y="0"/>
                  </a:moveTo>
                  <a:lnTo>
                    <a:pt x="0" y="125"/>
                  </a:lnTo>
                  <a:lnTo>
                    <a:pt x="787" y="125"/>
                  </a:lnTo>
                  <a:lnTo>
                    <a:pt x="787" y="119"/>
                  </a:lnTo>
                  <a:lnTo>
                    <a:pt x="5" y="119"/>
                  </a:lnTo>
                  <a:lnTo>
                    <a:pt x="5"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nvGrpSpPr>
          <p:cNvPr id="1356" name="Group 1355"/>
          <p:cNvGrpSpPr/>
          <p:nvPr/>
        </p:nvGrpSpPr>
        <p:grpSpPr>
          <a:xfrm>
            <a:off x="2270668" y="3733757"/>
            <a:ext cx="1401564" cy="1023793"/>
            <a:chOff x="2270125" y="4133850"/>
            <a:chExt cx="1401763" cy="1023938"/>
          </a:xfrm>
        </p:grpSpPr>
        <p:sp>
          <p:nvSpPr>
            <p:cNvPr id="1334" name="Freeform 136"/>
            <p:cNvSpPr>
              <a:spLocks/>
            </p:cNvSpPr>
            <p:nvPr/>
          </p:nvSpPr>
          <p:spPr bwMode="auto">
            <a:xfrm>
              <a:off x="2270125" y="4133850"/>
              <a:ext cx="1401763" cy="1023938"/>
            </a:xfrm>
            <a:custGeom>
              <a:avLst/>
              <a:gdLst>
                <a:gd name="T0" fmla="*/ 1129 w 1174"/>
                <a:gd name="T1" fmla="*/ 0 h 856"/>
                <a:gd name="T2" fmla="*/ 44 w 1174"/>
                <a:gd name="T3" fmla="*/ 0 h 856"/>
                <a:gd name="T4" fmla="*/ 0 w 1174"/>
                <a:gd name="T5" fmla="*/ 44 h 856"/>
                <a:gd name="T6" fmla="*/ 0 w 1174"/>
                <a:gd name="T7" fmla="*/ 812 h 856"/>
                <a:gd name="T8" fmla="*/ 44 w 1174"/>
                <a:gd name="T9" fmla="*/ 856 h 856"/>
                <a:gd name="T10" fmla="*/ 1129 w 1174"/>
                <a:gd name="T11" fmla="*/ 856 h 856"/>
                <a:gd name="T12" fmla="*/ 1174 w 1174"/>
                <a:gd name="T13" fmla="*/ 812 h 856"/>
                <a:gd name="T14" fmla="*/ 1174 w 1174"/>
                <a:gd name="T15" fmla="*/ 44 h 856"/>
                <a:gd name="T16" fmla="*/ 1129 w 1174"/>
                <a:gd name="T17"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4" h="856">
                  <a:moveTo>
                    <a:pt x="1129" y="0"/>
                  </a:moveTo>
                  <a:cubicBezTo>
                    <a:pt x="44" y="0"/>
                    <a:pt x="44" y="0"/>
                    <a:pt x="44" y="0"/>
                  </a:cubicBezTo>
                  <a:cubicBezTo>
                    <a:pt x="7" y="0"/>
                    <a:pt x="0" y="7"/>
                    <a:pt x="0" y="44"/>
                  </a:cubicBezTo>
                  <a:cubicBezTo>
                    <a:pt x="0" y="812"/>
                    <a:pt x="0" y="812"/>
                    <a:pt x="0" y="812"/>
                  </a:cubicBezTo>
                  <a:cubicBezTo>
                    <a:pt x="0" y="848"/>
                    <a:pt x="7" y="856"/>
                    <a:pt x="44" y="856"/>
                  </a:cubicBezTo>
                  <a:cubicBezTo>
                    <a:pt x="1129" y="856"/>
                    <a:pt x="1129" y="856"/>
                    <a:pt x="1129" y="856"/>
                  </a:cubicBezTo>
                  <a:cubicBezTo>
                    <a:pt x="1166" y="856"/>
                    <a:pt x="1174" y="848"/>
                    <a:pt x="1174" y="812"/>
                  </a:cubicBezTo>
                  <a:cubicBezTo>
                    <a:pt x="1174" y="44"/>
                    <a:pt x="1174" y="44"/>
                    <a:pt x="1174" y="44"/>
                  </a:cubicBezTo>
                  <a:cubicBezTo>
                    <a:pt x="1174" y="7"/>
                    <a:pt x="1166" y="0"/>
                    <a:pt x="1129" y="0"/>
                  </a:cubicBez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5" name="Rectangle 137"/>
            <p:cNvSpPr>
              <a:spLocks noChangeArrowheads="1"/>
            </p:cNvSpPr>
            <p:nvPr/>
          </p:nvSpPr>
          <p:spPr bwMode="auto">
            <a:xfrm>
              <a:off x="2303463" y="4249738"/>
              <a:ext cx="1333500" cy="86042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6" name="Rectangle 138"/>
            <p:cNvSpPr>
              <a:spLocks noChangeArrowheads="1"/>
            </p:cNvSpPr>
            <p:nvPr/>
          </p:nvSpPr>
          <p:spPr bwMode="auto">
            <a:xfrm>
              <a:off x="2795588" y="4672013"/>
              <a:ext cx="68263" cy="198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7" name="Rectangle 139"/>
            <p:cNvSpPr>
              <a:spLocks noChangeArrowheads="1"/>
            </p:cNvSpPr>
            <p:nvPr/>
          </p:nvSpPr>
          <p:spPr bwMode="auto">
            <a:xfrm>
              <a:off x="2897188" y="4625975"/>
              <a:ext cx="68263" cy="2444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8" name="Rectangle 140"/>
            <p:cNvSpPr>
              <a:spLocks noChangeArrowheads="1"/>
            </p:cNvSpPr>
            <p:nvPr/>
          </p:nvSpPr>
          <p:spPr bwMode="auto">
            <a:xfrm>
              <a:off x="2998788" y="4703763"/>
              <a:ext cx="69850" cy="1666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9" name="Rectangle 141"/>
            <p:cNvSpPr>
              <a:spLocks noChangeArrowheads="1"/>
            </p:cNvSpPr>
            <p:nvPr/>
          </p:nvSpPr>
          <p:spPr bwMode="auto">
            <a:xfrm>
              <a:off x="3101975" y="4645025"/>
              <a:ext cx="68263"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0" name="Freeform 142"/>
            <p:cNvSpPr>
              <a:spLocks/>
            </p:cNvSpPr>
            <p:nvPr/>
          </p:nvSpPr>
          <p:spPr bwMode="auto">
            <a:xfrm>
              <a:off x="2808288" y="4500563"/>
              <a:ext cx="347663" cy="136525"/>
            </a:xfrm>
            <a:custGeom>
              <a:avLst/>
              <a:gdLst>
                <a:gd name="T0" fmla="*/ 138 w 219"/>
                <a:gd name="T1" fmla="*/ 86 h 86"/>
                <a:gd name="T2" fmla="*/ 89 w 219"/>
                <a:gd name="T3" fmla="*/ 16 h 86"/>
                <a:gd name="T4" fmla="*/ 7 w 219"/>
                <a:gd name="T5" fmla="*/ 77 h 86"/>
                <a:gd name="T6" fmla="*/ 0 w 219"/>
                <a:gd name="T7" fmla="*/ 69 h 86"/>
                <a:gd name="T8" fmla="*/ 93 w 219"/>
                <a:gd name="T9" fmla="*/ 0 h 86"/>
                <a:gd name="T10" fmla="*/ 140 w 219"/>
                <a:gd name="T11" fmla="*/ 70 h 86"/>
                <a:gd name="T12" fmla="*/ 214 w 219"/>
                <a:gd name="T13" fmla="*/ 5 h 86"/>
                <a:gd name="T14" fmla="*/ 219 w 219"/>
                <a:gd name="T15" fmla="*/ 10 h 86"/>
                <a:gd name="T16" fmla="*/ 215 w 219"/>
                <a:gd name="T17" fmla="*/ 14 h 86"/>
                <a:gd name="T18" fmla="*/ 217 w 219"/>
                <a:gd name="T19" fmla="*/ 17 h 86"/>
                <a:gd name="T20" fmla="*/ 138 w 21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86">
                  <a:moveTo>
                    <a:pt x="138" y="86"/>
                  </a:moveTo>
                  <a:lnTo>
                    <a:pt x="89" y="16"/>
                  </a:lnTo>
                  <a:lnTo>
                    <a:pt x="7" y="77"/>
                  </a:lnTo>
                  <a:lnTo>
                    <a:pt x="0" y="69"/>
                  </a:lnTo>
                  <a:lnTo>
                    <a:pt x="93" y="0"/>
                  </a:lnTo>
                  <a:lnTo>
                    <a:pt x="140" y="70"/>
                  </a:lnTo>
                  <a:lnTo>
                    <a:pt x="214" y="5"/>
                  </a:lnTo>
                  <a:lnTo>
                    <a:pt x="219" y="10"/>
                  </a:lnTo>
                  <a:lnTo>
                    <a:pt x="215" y="14"/>
                  </a:lnTo>
                  <a:lnTo>
                    <a:pt x="217" y="17"/>
                  </a:lnTo>
                  <a:lnTo>
                    <a:pt x="13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1" name="Oval 143"/>
            <p:cNvSpPr>
              <a:spLocks noChangeArrowheads="1"/>
            </p:cNvSpPr>
            <p:nvPr/>
          </p:nvSpPr>
          <p:spPr bwMode="auto">
            <a:xfrm>
              <a:off x="2784475" y="4591050"/>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2" name="Oval 144"/>
            <p:cNvSpPr>
              <a:spLocks noChangeArrowheads="1"/>
            </p:cNvSpPr>
            <p:nvPr/>
          </p:nvSpPr>
          <p:spPr bwMode="auto">
            <a:xfrm>
              <a:off x="2925763" y="4491038"/>
              <a:ext cx="53975"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3" name="Oval 145"/>
            <p:cNvSpPr>
              <a:spLocks noChangeArrowheads="1"/>
            </p:cNvSpPr>
            <p:nvPr/>
          </p:nvSpPr>
          <p:spPr bwMode="auto">
            <a:xfrm>
              <a:off x="3000375" y="4597400"/>
              <a:ext cx="52388"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4" name="Oval 146"/>
            <p:cNvSpPr>
              <a:spLocks noChangeArrowheads="1"/>
            </p:cNvSpPr>
            <p:nvPr/>
          </p:nvSpPr>
          <p:spPr bwMode="auto">
            <a:xfrm>
              <a:off x="3124200" y="449421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nvGrpSpPr>
          <p:cNvPr id="1355" name="Group 1354"/>
          <p:cNvGrpSpPr/>
          <p:nvPr/>
        </p:nvGrpSpPr>
        <p:grpSpPr>
          <a:xfrm>
            <a:off x="7357884" y="4227399"/>
            <a:ext cx="1401564" cy="1022205"/>
            <a:chOff x="7358063" y="4627563"/>
            <a:chExt cx="1401763" cy="1022350"/>
          </a:xfrm>
        </p:grpSpPr>
        <p:sp>
          <p:nvSpPr>
            <p:cNvPr id="1331" name="Freeform 133"/>
            <p:cNvSpPr>
              <a:spLocks/>
            </p:cNvSpPr>
            <p:nvPr/>
          </p:nvSpPr>
          <p:spPr bwMode="auto">
            <a:xfrm>
              <a:off x="7358063" y="4627563"/>
              <a:ext cx="1401763" cy="1022350"/>
            </a:xfrm>
            <a:custGeom>
              <a:avLst/>
              <a:gdLst>
                <a:gd name="T0" fmla="*/ 1130 w 1174"/>
                <a:gd name="T1" fmla="*/ 0 h 856"/>
                <a:gd name="T2" fmla="*/ 45 w 1174"/>
                <a:gd name="T3" fmla="*/ 0 h 856"/>
                <a:gd name="T4" fmla="*/ 0 w 1174"/>
                <a:gd name="T5" fmla="*/ 45 h 856"/>
                <a:gd name="T6" fmla="*/ 0 w 1174"/>
                <a:gd name="T7" fmla="*/ 812 h 856"/>
                <a:gd name="T8" fmla="*/ 45 w 1174"/>
                <a:gd name="T9" fmla="*/ 856 h 856"/>
                <a:gd name="T10" fmla="*/ 1130 w 1174"/>
                <a:gd name="T11" fmla="*/ 856 h 856"/>
                <a:gd name="T12" fmla="*/ 1174 w 1174"/>
                <a:gd name="T13" fmla="*/ 812 h 856"/>
                <a:gd name="T14" fmla="*/ 1174 w 1174"/>
                <a:gd name="T15" fmla="*/ 45 h 856"/>
                <a:gd name="T16" fmla="*/ 1130 w 1174"/>
                <a:gd name="T17"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4" h="856">
                  <a:moveTo>
                    <a:pt x="1130" y="0"/>
                  </a:moveTo>
                  <a:cubicBezTo>
                    <a:pt x="45" y="0"/>
                    <a:pt x="45" y="0"/>
                    <a:pt x="45" y="0"/>
                  </a:cubicBezTo>
                  <a:cubicBezTo>
                    <a:pt x="8" y="0"/>
                    <a:pt x="0" y="8"/>
                    <a:pt x="0" y="45"/>
                  </a:cubicBezTo>
                  <a:cubicBezTo>
                    <a:pt x="0" y="812"/>
                    <a:pt x="0" y="812"/>
                    <a:pt x="0" y="812"/>
                  </a:cubicBezTo>
                  <a:cubicBezTo>
                    <a:pt x="0" y="849"/>
                    <a:pt x="8" y="856"/>
                    <a:pt x="45" y="856"/>
                  </a:cubicBezTo>
                  <a:cubicBezTo>
                    <a:pt x="1130" y="856"/>
                    <a:pt x="1130" y="856"/>
                    <a:pt x="1130" y="856"/>
                  </a:cubicBezTo>
                  <a:cubicBezTo>
                    <a:pt x="1167" y="856"/>
                    <a:pt x="1174" y="849"/>
                    <a:pt x="1174" y="812"/>
                  </a:cubicBezTo>
                  <a:cubicBezTo>
                    <a:pt x="1174" y="45"/>
                    <a:pt x="1174" y="45"/>
                    <a:pt x="1174" y="45"/>
                  </a:cubicBezTo>
                  <a:cubicBezTo>
                    <a:pt x="1174" y="8"/>
                    <a:pt x="1167" y="0"/>
                    <a:pt x="1130" y="0"/>
                  </a:cubicBezTo>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2" name="Rectangle 134"/>
            <p:cNvSpPr>
              <a:spLocks noChangeArrowheads="1"/>
            </p:cNvSpPr>
            <p:nvPr/>
          </p:nvSpPr>
          <p:spPr bwMode="auto">
            <a:xfrm>
              <a:off x="7392988" y="4743450"/>
              <a:ext cx="1333500" cy="86042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33" name="Rectangle 135"/>
            <p:cNvSpPr>
              <a:spLocks noChangeArrowheads="1"/>
            </p:cNvSpPr>
            <p:nvPr/>
          </p:nvSpPr>
          <p:spPr bwMode="auto">
            <a:xfrm>
              <a:off x="7392988" y="4743450"/>
              <a:ext cx="13335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5" name="Rectangle 147"/>
            <p:cNvSpPr>
              <a:spLocks noChangeArrowheads="1"/>
            </p:cNvSpPr>
            <p:nvPr/>
          </p:nvSpPr>
          <p:spPr bwMode="auto">
            <a:xfrm>
              <a:off x="7923213" y="5157788"/>
              <a:ext cx="412750" cy="25400"/>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6" name="Rectangle 148"/>
            <p:cNvSpPr>
              <a:spLocks noChangeArrowheads="1"/>
            </p:cNvSpPr>
            <p:nvPr/>
          </p:nvSpPr>
          <p:spPr bwMode="auto">
            <a:xfrm>
              <a:off x="7923213" y="5157788"/>
              <a:ext cx="412750"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7" name="Freeform 149"/>
            <p:cNvSpPr>
              <a:spLocks/>
            </p:cNvSpPr>
            <p:nvPr/>
          </p:nvSpPr>
          <p:spPr bwMode="auto">
            <a:xfrm>
              <a:off x="7781925" y="4970463"/>
              <a:ext cx="127000" cy="107950"/>
            </a:xfrm>
            <a:custGeom>
              <a:avLst/>
              <a:gdLst>
                <a:gd name="T0" fmla="*/ 4 w 106"/>
                <a:gd name="T1" fmla="*/ 49 h 91"/>
                <a:gd name="T2" fmla="*/ 1 w 106"/>
                <a:gd name="T3" fmla="*/ 45 h 91"/>
                <a:gd name="T4" fmla="*/ 1 w 106"/>
                <a:gd name="T5" fmla="*/ 41 h 91"/>
                <a:gd name="T6" fmla="*/ 11 w 106"/>
                <a:gd name="T7" fmla="*/ 32 h 91"/>
                <a:gd name="T8" fmla="*/ 13 w 106"/>
                <a:gd name="T9" fmla="*/ 31 h 91"/>
                <a:gd name="T10" fmla="*/ 15 w 106"/>
                <a:gd name="T11" fmla="*/ 32 h 91"/>
                <a:gd name="T12" fmla="*/ 43 w 106"/>
                <a:gd name="T13" fmla="*/ 62 h 91"/>
                <a:gd name="T14" fmla="*/ 91 w 106"/>
                <a:gd name="T15" fmla="*/ 1 h 91"/>
                <a:gd name="T16" fmla="*/ 93 w 106"/>
                <a:gd name="T17" fmla="*/ 0 h 91"/>
                <a:gd name="T18" fmla="*/ 94 w 106"/>
                <a:gd name="T19" fmla="*/ 0 h 91"/>
                <a:gd name="T20" fmla="*/ 105 w 106"/>
                <a:gd name="T21" fmla="*/ 9 h 91"/>
                <a:gd name="T22" fmla="*/ 106 w 106"/>
                <a:gd name="T23" fmla="*/ 11 h 91"/>
                <a:gd name="T24" fmla="*/ 106 w 106"/>
                <a:gd name="T25" fmla="*/ 12 h 91"/>
                <a:gd name="T26" fmla="*/ 44 w 106"/>
                <a:gd name="T27" fmla="*/ 91 h 91"/>
                <a:gd name="T28" fmla="*/ 4 w 106"/>
                <a:gd name="T29"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91">
                  <a:moveTo>
                    <a:pt x="4" y="49"/>
                  </a:moveTo>
                  <a:cubicBezTo>
                    <a:pt x="1" y="45"/>
                    <a:pt x="1" y="45"/>
                    <a:pt x="1" y="45"/>
                  </a:cubicBezTo>
                  <a:cubicBezTo>
                    <a:pt x="0" y="44"/>
                    <a:pt x="0" y="42"/>
                    <a:pt x="1" y="41"/>
                  </a:cubicBezTo>
                  <a:cubicBezTo>
                    <a:pt x="11" y="32"/>
                    <a:pt x="11" y="32"/>
                    <a:pt x="11" y="32"/>
                  </a:cubicBezTo>
                  <a:cubicBezTo>
                    <a:pt x="11" y="32"/>
                    <a:pt x="12" y="31"/>
                    <a:pt x="13" y="31"/>
                  </a:cubicBezTo>
                  <a:cubicBezTo>
                    <a:pt x="13" y="31"/>
                    <a:pt x="14" y="32"/>
                    <a:pt x="15" y="32"/>
                  </a:cubicBezTo>
                  <a:cubicBezTo>
                    <a:pt x="43" y="62"/>
                    <a:pt x="43" y="62"/>
                    <a:pt x="43" y="62"/>
                  </a:cubicBezTo>
                  <a:cubicBezTo>
                    <a:pt x="91" y="1"/>
                    <a:pt x="91" y="1"/>
                    <a:pt x="91" y="1"/>
                  </a:cubicBezTo>
                  <a:cubicBezTo>
                    <a:pt x="91" y="0"/>
                    <a:pt x="92" y="0"/>
                    <a:pt x="93" y="0"/>
                  </a:cubicBezTo>
                  <a:cubicBezTo>
                    <a:pt x="93" y="0"/>
                    <a:pt x="94" y="0"/>
                    <a:pt x="94" y="0"/>
                  </a:cubicBezTo>
                  <a:cubicBezTo>
                    <a:pt x="105" y="9"/>
                    <a:pt x="105" y="9"/>
                    <a:pt x="105" y="9"/>
                  </a:cubicBezTo>
                  <a:cubicBezTo>
                    <a:pt x="106" y="9"/>
                    <a:pt x="106" y="10"/>
                    <a:pt x="106" y="11"/>
                  </a:cubicBezTo>
                  <a:cubicBezTo>
                    <a:pt x="106" y="11"/>
                    <a:pt x="106" y="12"/>
                    <a:pt x="106" y="12"/>
                  </a:cubicBezTo>
                  <a:cubicBezTo>
                    <a:pt x="44" y="91"/>
                    <a:pt x="44" y="91"/>
                    <a:pt x="44" y="91"/>
                  </a:cubicBezTo>
                  <a:lnTo>
                    <a:pt x="4"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8" name="Freeform 150"/>
            <p:cNvSpPr>
              <a:spLocks/>
            </p:cNvSpPr>
            <p:nvPr/>
          </p:nvSpPr>
          <p:spPr bwMode="auto">
            <a:xfrm>
              <a:off x="7781925" y="5097463"/>
              <a:ext cx="127000" cy="107950"/>
            </a:xfrm>
            <a:custGeom>
              <a:avLst/>
              <a:gdLst>
                <a:gd name="T0" fmla="*/ 4 w 106"/>
                <a:gd name="T1" fmla="*/ 48 h 90"/>
                <a:gd name="T2" fmla="*/ 1 w 106"/>
                <a:gd name="T3" fmla="*/ 45 h 90"/>
                <a:gd name="T4" fmla="*/ 1 w 106"/>
                <a:gd name="T5" fmla="*/ 41 h 90"/>
                <a:gd name="T6" fmla="*/ 11 w 106"/>
                <a:gd name="T7" fmla="*/ 32 h 90"/>
                <a:gd name="T8" fmla="*/ 13 w 106"/>
                <a:gd name="T9" fmla="*/ 31 h 90"/>
                <a:gd name="T10" fmla="*/ 15 w 106"/>
                <a:gd name="T11" fmla="*/ 32 h 90"/>
                <a:gd name="T12" fmla="*/ 43 w 106"/>
                <a:gd name="T13" fmla="*/ 62 h 90"/>
                <a:gd name="T14" fmla="*/ 91 w 106"/>
                <a:gd name="T15" fmla="*/ 1 h 90"/>
                <a:gd name="T16" fmla="*/ 93 w 106"/>
                <a:gd name="T17" fmla="*/ 0 h 90"/>
                <a:gd name="T18" fmla="*/ 94 w 106"/>
                <a:gd name="T19" fmla="*/ 0 h 90"/>
                <a:gd name="T20" fmla="*/ 105 w 106"/>
                <a:gd name="T21" fmla="*/ 9 h 90"/>
                <a:gd name="T22" fmla="*/ 106 w 106"/>
                <a:gd name="T23" fmla="*/ 10 h 90"/>
                <a:gd name="T24" fmla="*/ 106 w 106"/>
                <a:gd name="T25" fmla="*/ 12 h 90"/>
                <a:gd name="T26" fmla="*/ 44 w 106"/>
                <a:gd name="T27" fmla="*/ 90 h 90"/>
                <a:gd name="T28" fmla="*/ 4 w 106"/>
                <a:gd name="T29" fmla="*/ 4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90">
                  <a:moveTo>
                    <a:pt x="4" y="48"/>
                  </a:moveTo>
                  <a:cubicBezTo>
                    <a:pt x="1" y="45"/>
                    <a:pt x="1" y="45"/>
                    <a:pt x="1" y="45"/>
                  </a:cubicBezTo>
                  <a:cubicBezTo>
                    <a:pt x="0" y="44"/>
                    <a:pt x="0" y="42"/>
                    <a:pt x="1" y="41"/>
                  </a:cubicBezTo>
                  <a:cubicBezTo>
                    <a:pt x="11" y="32"/>
                    <a:pt x="11" y="32"/>
                    <a:pt x="11" y="32"/>
                  </a:cubicBezTo>
                  <a:cubicBezTo>
                    <a:pt x="11" y="31"/>
                    <a:pt x="12" y="31"/>
                    <a:pt x="13" y="31"/>
                  </a:cubicBezTo>
                  <a:cubicBezTo>
                    <a:pt x="13" y="31"/>
                    <a:pt x="14" y="31"/>
                    <a:pt x="15" y="32"/>
                  </a:cubicBezTo>
                  <a:cubicBezTo>
                    <a:pt x="43" y="62"/>
                    <a:pt x="43" y="62"/>
                    <a:pt x="43" y="62"/>
                  </a:cubicBezTo>
                  <a:cubicBezTo>
                    <a:pt x="91" y="1"/>
                    <a:pt x="91" y="1"/>
                    <a:pt x="91" y="1"/>
                  </a:cubicBezTo>
                  <a:cubicBezTo>
                    <a:pt x="91" y="0"/>
                    <a:pt x="92" y="0"/>
                    <a:pt x="93" y="0"/>
                  </a:cubicBezTo>
                  <a:cubicBezTo>
                    <a:pt x="93" y="0"/>
                    <a:pt x="94" y="0"/>
                    <a:pt x="94" y="0"/>
                  </a:cubicBezTo>
                  <a:cubicBezTo>
                    <a:pt x="105" y="9"/>
                    <a:pt x="105" y="9"/>
                    <a:pt x="105" y="9"/>
                  </a:cubicBezTo>
                  <a:cubicBezTo>
                    <a:pt x="106" y="9"/>
                    <a:pt x="106" y="10"/>
                    <a:pt x="106" y="10"/>
                  </a:cubicBezTo>
                  <a:cubicBezTo>
                    <a:pt x="106" y="11"/>
                    <a:pt x="106" y="12"/>
                    <a:pt x="106" y="12"/>
                  </a:cubicBezTo>
                  <a:cubicBezTo>
                    <a:pt x="44" y="90"/>
                    <a:pt x="44" y="90"/>
                    <a:pt x="44" y="90"/>
                  </a:cubicBezTo>
                  <a:lnTo>
                    <a:pt x="4"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49" name="Rectangle 151"/>
            <p:cNvSpPr>
              <a:spLocks noChangeArrowheads="1"/>
            </p:cNvSpPr>
            <p:nvPr/>
          </p:nvSpPr>
          <p:spPr bwMode="auto">
            <a:xfrm>
              <a:off x="7923213" y="5027613"/>
              <a:ext cx="412750" cy="25400"/>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50" name="Rectangle 152"/>
            <p:cNvSpPr>
              <a:spLocks noChangeArrowheads="1"/>
            </p:cNvSpPr>
            <p:nvPr/>
          </p:nvSpPr>
          <p:spPr bwMode="auto">
            <a:xfrm>
              <a:off x="7923213" y="5027613"/>
              <a:ext cx="412750"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51" name="Freeform 153"/>
            <p:cNvSpPr>
              <a:spLocks/>
            </p:cNvSpPr>
            <p:nvPr/>
          </p:nvSpPr>
          <p:spPr bwMode="auto">
            <a:xfrm>
              <a:off x="7781925" y="5235575"/>
              <a:ext cx="127000" cy="109538"/>
            </a:xfrm>
            <a:custGeom>
              <a:avLst/>
              <a:gdLst>
                <a:gd name="T0" fmla="*/ 4 w 106"/>
                <a:gd name="T1" fmla="*/ 49 h 91"/>
                <a:gd name="T2" fmla="*/ 1 w 106"/>
                <a:gd name="T3" fmla="*/ 45 h 91"/>
                <a:gd name="T4" fmla="*/ 1 w 106"/>
                <a:gd name="T5" fmla="*/ 42 h 91"/>
                <a:gd name="T6" fmla="*/ 11 w 106"/>
                <a:gd name="T7" fmla="*/ 32 h 91"/>
                <a:gd name="T8" fmla="*/ 13 w 106"/>
                <a:gd name="T9" fmla="*/ 32 h 91"/>
                <a:gd name="T10" fmla="*/ 15 w 106"/>
                <a:gd name="T11" fmla="*/ 33 h 91"/>
                <a:gd name="T12" fmla="*/ 43 w 106"/>
                <a:gd name="T13" fmla="*/ 62 h 91"/>
                <a:gd name="T14" fmla="*/ 91 w 106"/>
                <a:gd name="T15" fmla="*/ 1 h 91"/>
                <a:gd name="T16" fmla="*/ 93 w 106"/>
                <a:gd name="T17" fmla="*/ 0 h 91"/>
                <a:gd name="T18" fmla="*/ 94 w 106"/>
                <a:gd name="T19" fmla="*/ 1 h 91"/>
                <a:gd name="T20" fmla="*/ 105 w 106"/>
                <a:gd name="T21" fmla="*/ 9 h 91"/>
                <a:gd name="T22" fmla="*/ 106 w 106"/>
                <a:gd name="T23" fmla="*/ 11 h 91"/>
                <a:gd name="T24" fmla="*/ 106 w 106"/>
                <a:gd name="T25" fmla="*/ 13 h 91"/>
                <a:gd name="T26" fmla="*/ 44 w 106"/>
                <a:gd name="T27" fmla="*/ 91 h 91"/>
                <a:gd name="T28" fmla="*/ 4 w 106"/>
                <a:gd name="T29"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91">
                  <a:moveTo>
                    <a:pt x="4" y="49"/>
                  </a:moveTo>
                  <a:cubicBezTo>
                    <a:pt x="1" y="45"/>
                    <a:pt x="1" y="45"/>
                    <a:pt x="1" y="45"/>
                  </a:cubicBezTo>
                  <a:cubicBezTo>
                    <a:pt x="0" y="44"/>
                    <a:pt x="0" y="43"/>
                    <a:pt x="1" y="42"/>
                  </a:cubicBezTo>
                  <a:cubicBezTo>
                    <a:pt x="11" y="32"/>
                    <a:pt x="11" y="32"/>
                    <a:pt x="11" y="32"/>
                  </a:cubicBezTo>
                  <a:cubicBezTo>
                    <a:pt x="11" y="32"/>
                    <a:pt x="12" y="32"/>
                    <a:pt x="13" y="32"/>
                  </a:cubicBezTo>
                  <a:cubicBezTo>
                    <a:pt x="13" y="32"/>
                    <a:pt x="14" y="32"/>
                    <a:pt x="15" y="33"/>
                  </a:cubicBezTo>
                  <a:cubicBezTo>
                    <a:pt x="43" y="62"/>
                    <a:pt x="43" y="62"/>
                    <a:pt x="43" y="62"/>
                  </a:cubicBezTo>
                  <a:cubicBezTo>
                    <a:pt x="91" y="1"/>
                    <a:pt x="91" y="1"/>
                    <a:pt x="91" y="1"/>
                  </a:cubicBezTo>
                  <a:cubicBezTo>
                    <a:pt x="91" y="1"/>
                    <a:pt x="92" y="0"/>
                    <a:pt x="93" y="0"/>
                  </a:cubicBezTo>
                  <a:cubicBezTo>
                    <a:pt x="93" y="0"/>
                    <a:pt x="94" y="0"/>
                    <a:pt x="94" y="1"/>
                  </a:cubicBezTo>
                  <a:cubicBezTo>
                    <a:pt x="105" y="9"/>
                    <a:pt x="105" y="9"/>
                    <a:pt x="105" y="9"/>
                  </a:cubicBezTo>
                  <a:cubicBezTo>
                    <a:pt x="106" y="10"/>
                    <a:pt x="106" y="10"/>
                    <a:pt x="106" y="11"/>
                  </a:cubicBezTo>
                  <a:cubicBezTo>
                    <a:pt x="106" y="12"/>
                    <a:pt x="106" y="12"/>
                    <a:pt x="106" y="13"/>
                  </a:cubicBezTo>
                  <a:cubicBezTo>
                    <a:pt x="44" y="91"/>
                    <a:pt x="44" y="91"/>
                    <a:pt x="44" y="91"/>
                  </a:cubicBezTo>
                  <a:lnTo>
                    <a:pt x="4"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52" name="Rectangle 154"/>
            <p:cNvSpPr>
              <a:spLocks noChangeArrowheads="1"/>
            </p:cNvSpPr>
            <p:nvPr/>
          </p:nvSpPr>
          <p:spPr bwMode="auto">
            <a:xfrm>
              <a:off x="7923213" y="5294313"/>
              <a:ext cx="412750" cy="23813"/>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353" name="Rectangle 155"/>
            <p:cNvSpPr>
              <a:spLocks noChangeArrowheads="1"/>
            </p:cNvSpPr>
            <p:nvPr/>
          </p:nvSpPr>
          <p:spPr bwMode="auto">
            <a:xfrm>
              <a:off x="7923213" y="5294313"/>
              <a:ext cx="41275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spTree>
    <p:extLst>
      <p:ext uri="{BB962C8B-B14F-4D97-AF65-F5344CB8AC3E}">
        <p14:creationId xmlns:p14="http://schemas.microsoft.com/office/powerpoint/2010/main" val="179808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pic>
        <p:nvPicPr>
          <p:cNvPr id="27" name="Picture 26"/>
          <p:cNvPicPr>
            <a:picLocks noChangeAspect="1"/>
          </p:cNvPicPr>
          <p:nvPr/>
        </p:nvPicPr>
        <p:blipFill>
          <a:blip r:embed="rId3">
            <a:biLevel thresh="25000"/>
          </a:blip>
          <a:stretch>
            <a:fillRect/>
          </a:stretch>
        </p:blipFill>
        <p:spPr>
          <a:xfrm rot="16200000">
            <a:off x="9599546" y="3182190"/>
            <a:ext cx="1371829" cy="395721"/>
          </a:xfrm>
          <a:prstGeom prst="rect">
            <a:avLst/>
          </a:prstGeom>
        </p:spPr>
      </p:pic>
      <p:pic>
        <p:nvPicPr>
          <p:cNvPr id="60" name="Picture 59"/>
          <p:cNvPicPr>
            <a:picLocks noChangeAspect="1"/>
          </p:cNvPicPr>
          <p:nvPr/>
        </p:nvPicPr>
        <p:blipFill>
          <a:blip r:embed="rId4">
            <a:biLevel thresh="25000"/>
          </a:blip>
          <a:stretch>
            <a:fillRect/>
          </a:stretch>
        </p:blipFill>
        <p:spPr>
          <a:xfrm>
            <a:off x="3789828" y="5316784"/>
            <a:ext cx="5636536" cy="375213"/>
          </a:xfrm>
          <a:prstGeom prst="rect">
            <a:avLst/>
          </a:prstGeom>
        </p:spPr>
      </p:pic>
      <p:sp>
        <p:nvSpPr>
          <p:cNvPr id="59" name="Right Arrow 58"/>
          <p:cNvSpPr/>
          <p:nvPr/>
        </p:nvSpPr>
        <p:spPr>
          <a:xfrm>
            <a:off x="8514014" y="1981312"/>
            <a:ext cx="1775449" cy="1021594"/>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a:solidFill>
                <a:srgbClr val="FFFFFF"/>
              </a:solidFill>
            </a:endParaRPr>
          </a:p>
        </p:txBody>
      </p:sp>
      <p:sp>
        <p:nvSpPr>
          <p:cNvPr id="55" name="Right Arrow 54"/>
          <p:cNvSpPr/>
          <p:nvPr/>
        </p:nvSpPr>
        <p:spPr>
          <a:xfrm>
            <a:off x="4297446" y="1981407"/>
            <a:ext cx="1737882" cy="1021594"/>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a:solidFill>
                <a:srgbClr val="FFFFFF"/>
              </a:solidFill>
            </a:endParaRPr>
          </a:p>
        </p:txBody>
      </p:sp>
      <p:sp>
        <p:nvSpPr>
          <p:cNvPr id="29" name="Right Arrow 28"/>
          <p:cNvSpPr/>
          <p:nvPr/>
        </p:nvSpPr>
        <p:spPr>
          <a:xfrm>
            <a:off x="2382771" y="1981408"/>
            <a:ext cx="1737882" cy="1021594"/>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a:solidFill>
                <a:srgbClr val="FFFFFF"/>
              </a:solidFill>
            </a:endParaRPr>
          </a:p>
        </p:txBody>
      </p:sp>
      <p:sp>
        <p:nvSpPr>
          <p:cNvPr id="30" name="Right Arrow 29"/>
          <p:cNvSpPr/>
          <p:nvPr/>
        </p:nvSpPr>
        <p:spPr>
          <a:xfrm>
            <a:off x="6384286" y="1981408"/>
            <a:ext cx="1775449" cy="1021594"/>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a:solidFill>
                <a:srgbClr val="FFFFFF"/>
              </a:solidFill>
            </a:endParaRPr>
          </a:p>
        </p:txBody>
      </p:sp>
      <p:sp>
        <p:nvSpPr>
          <p:cNvPr id="32" name="Oval 31"/>
          <p:cNvSpPr/>
          <p:nvPr/>
        </p:nvSpPr>
        <p:spPr>
          <a:xfrm>
            <a:off x="9299857" y="4326324"/>
            <a:ext cx="1980919" cy="1980919"/>
          </a:xfrm>
          <a:prstGeom prst="ellipse">
            <a:avLst/>
          </a:prstGeom>
          <a:noFill/>
          <a:ln w="4445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a:solidFill>
                <a:srgbClr val="FFFFFF"/>
              </a:solidFill>
            </a:endParaRPr>
          </a:p>
        </p:txBody>
      </p:sp>
      <p:grpSp>
        <p:nvGrpSpPr>
          <p:cNvPr id="48" name="Group 1"/>
          <p:cNvGrpSpPr/>
          <p:nvPr/>
        </p:nvGrpSpPr>
        <p:grpSpPr>
          <a:xfrm>
            <a:off x="807237" y="1295702"/>
            <a:ext cx="10556574" cy="5230164"/>
            <a:chOff x="804898" y="1295400"/>
            <a:chExt cx="10558072" cy="5230906"/>
          </a:xfrm>
        </p:grpSpPr>
        <p:sp>
          <p:nvSpPr>
            <p:cNvPr id="4" name="TextBox 12"/>
            <p:cNvSpPr txBox="1"/>
            <p:nvPr/>
          </p:nvSpPr>
          <p:spPr>
            <a:xfrm>
              <a:off x="804898" y="1295400"/>
              <a:ext cx="1981200" cy="381000"/>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2) Code Repository</a:t>
              </a:r>
            </a:p>
          </p:txBody>
        </p:sp>
        <p:sp>
          <p:nvSpPr>
            <p:cNvPr id="5" name="TextBox 24"/>
            <p:cNvSpPr txBox="1"/>
            <p:nvPr/>
          </p:nvSpPr>
          <p:spPr>
            <a:xfrm>
              <a:off x="912812" y="6145306"/>
              <a:ext cx="1676400" cy="381000"/>
            </a:xfrm>
            <a:prstGeom prst="rect">
              <a:avLst/>
            </a:prstGeom>
          </p:spPr>
          <p:txBody>
            <a:bodyPr vert="horz" wrap="square" lIns="91427" tIns="91427" rIns="91427" bIns="91427" rtlCol="0" anchor="t">
              <a:noAutofit/>
            </a:bodyPr>
            <a:lstStyle/>
            <a:p>
              <a:pPr defTabSz="914367"/>
              <a:r>
                <a:rPr lang="en-US" sz="1600" dirty="0">
                  <a:solidFill>
                    <a:srgbClr val="FFFFFF"/>
                  </a:solidFill>
                  <a:ea typeface="Segoe UI" pitchFamily="34" charset="0"/>
                  <a:cs typeface="Segoe UI" pitchFamily="34" charset="0"/>
                </a:rPr>
                <a:t>1) Developers</a:t>
              </a:r>
            </a:p>
          </p:txBody>
        </p:sp>
        <p:sp>
          <p:nvSpPr>
            <p:cNvPr id="6" name="TextBox 25"/>
            <p:cNvSpPr txBox="1"/>
            <p:nvPr/>
          </p:nvSpPr>
          <p:spPr>
            <a:xfrm>
              <a:off x="5111604" y="1295400"/>
              <a:ext cx="1981200" cy="381000"/>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4) Deploy to slot</a:t>
              </a:r>
            </a:p>
          </p:txBody>
        </p:sp>
        <p:sp>
          <p:nvSpPr>
            <p:cNvPr id="7" name="TextBox 30"/>
            <p:cNvSpPr txBox="1"/>
            <p:nvPr/>
          </p:nvSpPr>
          <p:spPr>
            <a:xfrm>
              <a:off x="7216404" y="1295400"/>
              <a:ext cx="1981200" cy="381000"/>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5) Test</a:t>
              </a:r>
            </a:p>
          </p:txBody>
        </p:sp>
        <p:sp>
          <p:nvSpPr>
            <p:cNvPr id="8" name="TextBox 32"/>
            <p:cNvSpPr txBox="1"/>
            <p:nvPr/>
          </p:nvSpPr>
          <p:spPr>
            <a:xfrm>
              <a:off x="9381770" y="6135099"/>
              <a:ext cx="1981200" cy="381000"/>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7) Deploy to Cloud</a:t>
              </a:r>
            </a:p>
          </p:txBody>
        </p:sp>
      </p:grpSp>
      <p:sp>
        <p:nvSpPr>
          <p:cNvPr id="11" name="TextBox 10"/>
          <p:cNvSpPr txBox="1"/>
          <p:nvPr/>
        </p:nvSpPr>
        <p:spPr>
          <a:xfrm>
            <a:off x="5202502" y="6144921"/>
            <a:ext cx="2447018" cy="380946"/>
          </a:xfrm>
          <a:prstGeom prst="rect">
            <a:avLst/>
          </a:prstGeom>
        </p:spPr>
        <p:txBody>
          <a:bodyPr vert="horz" wrap="square" lIns="91427" tIns="91427" rIns="91427" bIns="91427" rtlCol="0" anchor="t">
            <a:noAutofit/>
          </a:bodyPr>
          <a:lstStyle/>
          <a:p>
            <a:pPr defTabSz="914367"/>
            <a:r>
              <a:rPr lang="en-US" sz="1600">
                <a:solidFill>
                  <a:srgbClr val="FFFFFF"/>
                </a:solidFill>
                <a:ea typeface="Segoe UI" pitchFamily="34" charset="0"/>
                <a:cs typeface="Segoe UI" pitchFamily="34" charset="0"/>
              </a:rPr>
              <a:t>8) </a:t>
            </a:r>
            <a:r>
              <a:rPr lang="en-US" sz="1600" dirty="0">
                <a:solidFill>
                  <a:srgbClr val="FFFFFF"/>
                </a:solidFill>
                <a:ea typeface="Segoe UI" pitchFamily="34" charset="0"/>
                <a:cs typeface="Segoe UI" pitchFamily="34" charset="0"/>
              </a:rPr>
              <a:t>Monitor and Improve</a:t>
            </a:r>
          </a:p>
        </p:txBody>
      </p:sp>
      <p:sp>
        <p:nvSpPr>
          <p:cNvPr id="12" name="Rounded Rectangle 11"/>
          <p:cNvSpPr/>
          <p:nvPr/>
        </p:nvSpPr>
        <p:spPr>
          <a:xfrm>
            <a:off x="879045" y="1752838"/>
            <a:ext cx="1599973" cy="1599973"/>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40" name="Rounded Rectangle 39"/>
          <p:cNvSpPr/>
          <p:nvPr/>
        </p:nvSpPr>
        <p:spPr>
          <a:xfrm>
            <a:off x="5181357" y="1752838"/>
            <a:ext cx="1599973" cy="1599973"/>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41" name="Rounded Rectangle 40"/>
          <p:cNvSpPr/>
          <p:nvPr/>
        </p:nvSpPr>
        <p:spPr>
          <a:xfrm>
            <a:off x="7317490" y="1752838"/>
            <a:ext cx="1599973" cy="1599973"/>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grpSp>
        <p:nvGrpSpPr>
          <p:cNvPr id="18" name="Group 17"/>
          <p:cNvGrpSpPr/>
          <p:nvPr/>
        </p:nvGrpSpPr>
        <p:grpSpPr>
          <a:xfrm>
            <a:off x="633260" y="3962325"/>
            <a:ext cx="2784565" cy="2130106"/>
            <a:chOff x="685800" y="3696789"/>
            <a:chExt cx="3132178" cy="2396019"/>
          </a:xfrm>
        </p:grpSpPr>
        <p:sp>
          <p:nvSpPr>
            <p:cNvPr id="19" name="Right Arrow 18"/>
            <p:cNvSpPr/>
            <p:nvPr/>
          </p:nvSpPr>
          <p:spPr>
            <a:xfrm rot="16200000">
              <a:off x="1526730" y="4580271"/>
              <a:ext cx="2210953" cy="443989"/>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20" name="Right Arrow 19"/>
            <p:cNvSpPr/>
            <p:nvPr/>
          </p:nvSpPr>
          <p:spPr>
            <a:xfrm rot="16200000">
              <a:off x="777793" y="4580271"/>
              <a:ext cx="2210953" cy="443989"/>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pic>
          <p:nvPicPr>
            <p:cNvPr id="21" name="Picture 20"/>
            <p:cNvPicPr>
              <a:picLocks noChangeAspect="1"/>
            </p:cNvPicPr>
            <p:nvPr/>
          </p:nvPicPr>
          <p:blipFill>
            <a:blip r:embed="rId5"/>
            <a:stretch>
              <a:fillRect/>
            </a:stretch>
          </p:blipFill>
          <p:spPr>
            <a:xfrm>
              <a:off x="1606241" y="4614897"/>
              <a:ext cx="554055" cy="579825"/>
            </a:xfrm>
            <a:prstGeom prst="rect">
              <a:avLst/>
            </a:prstGeom>
          </p:spPr>
        </p:pic>
        <p:pic>
          <p:nvPicPr>
            <p:cNvPr id="22" name="Picture 21"/>
            <p:cNvPicPr>
              <a:picLocks noChangeAspect="1"/>
            </p:cNvPicPr>
            <p:nvPr/>
          </p:nvPicPr>
          <p:blipFill>
            <a:blip r:embed="rId6"/>
            <a:stretch>
              <a:fillRect/>
            </a:stretch>
          </p:blipFill>
          <p:spPr>
            <a:xfrm>
              <a:off x="685800" y="5029200"/>
              <a:ext cx="3132178" cy="1063608"/>
            </a:xfrm>
            <a:prstGeom prst="rect">
              <a:avLst/>
            </a:prstGeom>
          </p:spPr>
        </p:pic>
        <p:pic>
          <p:nvPicPr>
            <p:cNvPr id="42" name="Picture 41"/>
            <p:cNvPicPr>
              <a:picLocks noChangeAspect="1"/>
            </p:cNvPicPr>
            <p:nvPr/>
          </p:nvPicPr>
          <p:blipFill>
            <a:blip r:embed="rId5"/>
            <a:stretch>
              <a:fillRect/>
            </a:stretch>
          </p:blipFill>
          <p:spPr>
            <a:xfrm>
              <a:off x="2361152" y="4614897"/>
              <a:ext cx="554055" cy="579825"/>
            </a:xfrm>
            <a:prstGeom prst="rect">
              <a:avLst/>
            </a:prstGeom>
          </p:spPr>
        </p:pic>
      </p:grpSp>
      <p:grpSp>
        <p:nvGrpSpPr>
          <p:cNvPr id="17" name="Group 16"/>
          <p:cNvGrpSpPr/>
          <p:nvPr/>
        </p:nvGrpSpPr>
        <p:grpSpPr>
          <a:xfrm>
            <a:off x="5265860" y="4711499"/>
            <a:ext cx="1938825" cy="1416061"/>
            <a:chOff x="8000896" y="4711680"/>
            <a:chExt cx="2231915" cy="1630125"/>
          </a:xfrm>
        </p:grpSpPr>
        <p:pic>
          <p:nvPicPr>
            <p:cNvPr id="28" name="Picture 27"/>
            <p:cNvPicPr>
              <a:picLocks noChangeAspect="1"/>
            </p:cNvPicPr>
            <p:nvPr/>
          </p:nvPicPr>
          <p:blipFill>
            <a:blip r:embed="rId7"/>
            <a:stretch>
              <a:fillRect/>
            </a:stretch>
          </p:blipFill>
          <p:spPr>
            <a:xfrm>
              <a:off x="8000896" y="4711680"/>
              <a:ext cx="2231915" cy="1630125"/>
            </a:xfrm>
            <a:prstGeom prst="rect">
              <a:avLst/>
            </a:prstGeom>
          </p:spPr>
        </p:pic>
        <p:sp>
          <p:nvSpPr>
            <p:cNvPr id="49" name="TextBox 48"/>
            <p:cNvSpPr txBox="1"/>
            <p:nvPr/>
          </p:nvSpPr>
          <p:spPr>
            <a:xfrm>
              <a:off x="8124626" y="4982028"/>
              <a:ext cx="1857575" cy="381000"/>
            </a:xfrm>
            <a:prstGeom prst="rect">
              <a:avLst/>
            </a:prstGeom>
          </p:spPr>
          <p:txBody>
            <a:bodyPr vert="horz" wrap="square" lIns="91427" tIns="91427" rIns="91427" bIns="91427" rtlCol="0" anchor="t">
              <a:noAutofit/>
            </a:bodyPr>
            <a:lstStyle/>
            <a:p>
              <a:pPr defTabSz="914367"/>
              <a:r>
                <a:rPr lang="en-US" sz="1600" dirty="0">
                  <a:solidFill>
                    <a:srgbClr val="FFFFFF"/>
                  </a:solidFill>
                  <a:ea typeface="Segoe UI" pitchFamily="34" charset="0"/>
                  <a:cs typeface="Segoe UI" pitchFamily="34" charset="0"/>
                </a:rPr>
                <a:t>Azure</a:t>
              </a:r>
            </a:p>
          </p:txBody>
        </p:sp>
      </p:grpSp>
      <p:pic>
        <p:nvPicPr>
          <p:cNvPr id="51" name="Picture 50"/>
          <p:cNvPicPr>
            <a:picLocks noChangeAspect="1"/>
          </p:cNvPicPr>
          <p:nvPr/>
        </p:nvPicPr>
        <p:blipFill>
          <a:blip r:embed="rId8"/>
          <a:stretch>
            <a:fillRect/>
          </a:stretch>
        </p:blipFill>
        <p:spPr>
          <a:xfrm>
            <a:off x="1762108" y="2641837"/>
            <a:ext cx="526867" cy="525350"/>
          </a:xfrm>
          <a:prstGeom prst="rect">
            <a:avLst/>
          </a:prstGeom>
        </p:spPr>
      </p:pic>
      <p:pic>
        <p:nvPicPr>
          <p:cNvPr id="54" name="Picture 53"/>
          <p:cNvPicPr>
            <a:picLocks noChangeAspect="1"/>
          </p:cNvPicPr>
          <p:nvPr/>
        </p:nvPicPr>
        <p:blipFill>
          <a:blip r:embed="rId9"/>
          <a:stretch>
            <a:fillRect/>
          </a:stretch>
        </p:blipFill>
        <p:spPr>
          <a:xfrm>
            <a:off x="7514828" y="2054671"/>
            <a:ext cx="1174654" cy="917195"/>
          </a:xfrm>
          <a:prstGeom prst="rect">
            <a:avLst/>
          </a:prstGeom>
        </p:spPr>
      </p:pic>
      <p:pic>
        <p:nvPicPr>
          <p:cNvPr id="10" name="Picture 9"/>
          <p:cNvPicPr>
            <a:picLocks noChangeAspect="1"/>
          </p:cNvPicPr>
          <p:nvPr/>
        </p:nvPicPr>
        <p:blipFill>
          <a:blip r:embed="rId10"/>
          <a:stretch>
            <a:fillRect/>
          </a:stretch>
        </p:blipFill>
        <p:spPr>
          <a:xfrm>
            <a:off x="1045749" y="2681248"/>
            <a:ext cx="519574" cy="494229"/>
          </a:xfrm>
          <a:prstGeom prst="rect">
            <a:avLst/>
          </a:prstGeom>
        </p:spPr>
      </p:pic>
      <p:pic>
        <p:nvPicPr>
          <p:cNvPr id="14" name="Picture 13"/>
          <p:cNvPicPr>
            <a:picLocks noChangeAspect="1"/>
          </p:cNvPicPr>
          <p:nvPr/>
        </p:nvPicPr>
        <p:blipFill>
          <a:blip r:embed="rId11"/>
          <a:stretch>
            <a:fillRect/>
          </a:stretch>
        </p:blipFill>
        <p:spPr>
          <a:xfrm>
            <a:off x="1802304" y="1930818"/>
            <a:ext cx="451186" cy="517213"/>
          </a:xfrm>
          <a:prstGeom prst="rect">
            <a:avLst/>
          </a:prstGeom>
        </p:spPr>
      </p:pic>
      <p:pic>
        <p:nvPicPr>
          <p:cNvPr id="15" name="Picture 14"/>
          <p:cNvPicPr>
            <a:picLocks noChangeAspect="1"/>
          </p:cNvPicPr>
          <p:nvPr/>
        </p:nvPicPr>
        <p:blipFill>
          <a:blip r:embed="rId12"/>
          <a:stretch>
            <a:fillRect/>
          </a:stretch>
        </p:blipFill>
        <p:spPr>
          <a:xfrm>
            <a:off x="1062712" y="2003403"/>
            <a:ext cx="427281" cy="427281"/>
          </a:xfrm>
          <a:prstGeom prst="rect">
            <a:avLst/>
          </a:prstGeom>
        </p:spPr>
      </p:pic>
      <p:sp>
        <p:nvSpPr>
          <p:cNvPr id="45" name="Rounded Rectangle 44"/>
          <p:cNvSpPr/>
          <p:nvPr/>
        </p:nvSpPr>
        <p:spPr>
          <a:xfrm>
            <a:off x="3032187" y="1749903"/>
            <a:ext cx="1599973" cy="1599973"/>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56" name="TextBox 55"/>
          <p:cNvSpPr txBox="1"/>
          <p:nvPr/>
        </p:nvSpPr>
        <p:spPr>
          <a:xfrm>
            <a:off x="2953359" y="1295703"/>
            <a:ext cx="1980919" cy="380946"/>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3) Build</a:t>
            </a:r>
          </a:p>
        </p:txBody>
      </p:sp>
      <p:pic>
        <p:nvPicPr>
          <p:cNvPr id="16" name="Picture 15"/>
          <p:cNvPicPr>
            <a:picLocks noChangeAspect="1"/>
          </p:cNvPicPr>
          <p:nvPr/>
        </p:nvPicPr>
        <p:blipFill>
          <a:blip r:embed="rId13"/>
          <a:stretch>
            <a:fillRect/>
          </a:stretch>
        </p:blipFill>
        <p:spPr>
          <a:xfrm>
            <a:off x="5529868" y="2054391"/>
            <a:ext cx="942658" cy="990998"/>
          </a:xfrm>
          <a:prstGeom prst="rect">
            <a:avLst/>
          </a:prstGeom>
        </p:spPr>
      </p:pic>
      <p:grpSp>
        <p:nvGrpSpPr>
          <p:cNvPr id="47" name="Group 46"/>
          <p:cNvGrpSpPr/>
          <p:nvPr/>
        </p:nvGrpSpPr>
        <p:grpSpPr>
          <a:xfrm>
            <a:off x="9259077" y="4746818"/>
            <a:ext cx="2123581" cy="1266041"/>
            <a:chOff x="9426803" y="2210077"/>
            <a:chExt cx="2123882" cy="1266221"/>
          </a:xfrm>
        </p:grpSpPr>
        <p:sp>
          <p:nvSpPr>
            <p:cNvPr id="9" name="TextBox 8"/>
            <p:cNvSpPr txBox="1"/>
            <p:nvPr/>
          </p:nvSpPr>
          <p:spPr>
            <a:xfrm>
              <a:off x="9447212" y="3095298"/>
              <a:ext cx="1981200" cy="381000"/>
            </a:xfrm>
            <a:prstGeom prst="rect">
              <a:avLst/>
            </a:prstGeom>
          </p:spPr>
          <p:txBody>
            <a:bodyPr vert="horz" wrap="square" lIns="91427" tIns="91427" rIns="91427" bIns="91427" rtlCol="0" anchor="t">
              <a:noAutofit/>
            </a:bodyPr>
            <a:lstStyle/>
            <a:p>
              <a:pPr marL="233318" indent="-233318" algn="ctr" defTabSz="914367"/>
              <a:r>
                <a:rPr lang="en-US" sz="1050" dirty="0">
                  <a:solidFill>
                    <a:srgbClr val="FFFFFF"/>
                  </a:solidFill>
                  <a:ea typeface="Segoe UI" pitchFamily="34" charset="0"/>
                  <a:cs typeface="Segoe UI" pitchFamily="34" charset="0"/>
                </a:rPr>
                <a:t>Contoso App</a:t>
              </a:r>
            </a:p>
          </p:txBody>
        </p:sp>
        <p:grpSp>
          <p:nvGrpSpPr>
            <p:cNvPr id="46" name="Group 45"/>
            <p:cNvGrpSpPr/>
            <p:nvPr/>
          </p:nvGrpSpPr>
          <p:grpSpPr>
            <a:xfrm>
              <a:off x="9426803" y="2210077"/>
              <a:ext cx="2123882" cy="964640"/>
              <a:chOff x="9426803" y="2210077"/>
              <a:chExt cx="2123882" cy="964640"/>
            </a:xfrm>
          </p:grpSpPr>
          <p:pic>
            <p:nvPicPr>
              <p:cNvPr id="34" name="Picture 33"/>
              <p:cNvPicPr>
                <a:picLocks noChangeAspect="1"/>
              </p:cNvPicPr>
              <p:nvPr/>
            </p:nvPicPr>
            <p:blipFill>
              <a:blip r:embed="rId14"/>
              <a:stretch>
                <a:fillRect/>
              </a:stretch>
            </p:blipFill>
            <p:spPr>
              <a:xfrm>
                <a:off x="9426803" y="2280018"/>
                <a:ext cx="835116" cy="835116"/>
              </a:xfrm>
              <a:prstGeom prst="rect">
                <a:avLst/>
              </a:prstGeom>
            </p:spPr>
          </p:pic>
          <p:pic>
            <p:nvPicPr>
              <p:cNvPr id="35" name="Picture 34"/>
              <p:cNvPicPr>
                <a:picLocks noChangeAspect="1"/>
              </p:cNvPicPr>
              <p:nvPr/>
            </p:nvPicPr>
            <p:blipFill>
              <a:blip r:embed="rId15"/>
              <a:stretch>
                <a:fillRect/>
              </a:stretch>
            </p:blipFill>
            <p:spPr>
              <a:xfrm>
                <a:off x="10818889" y="2210077"/>
                <a:ext cx="731796" cy="964640"/>
              </a:xfrm>
              <a:prstGeom prst="rect">
                <a:avLst/>
              </a:prstGeom>
            </p:spPr>
          </p:pic>
          <p:grpSp>
            <p:nvGrpSpPr>
              <p:cNvPr id="38" name="Group 37"/>
              <p:cNvGrpSpPr/>
              <p:nvPr/>
            </p:nvGrpSpPr>
            <p:grpSpPr>
              <a:xfrm>
                <a:off x="10391219" y="2570899"/>
                <a:ext cx="280591" cy="280591"/>
                <a:chOff x="8563291" y="2244010"/>
                <a:chExt cx="2020388" cy="2020388"/>
              </a:xfrm>
              <a:solidFill>
                <a:schemeClr val="tx1"/>
              </a:solidFill>
            </p:grpSpPr>
            <p:sp>
              <p:nvSpPr>
                <p:cNvPr id="36" name="Rectangle 35"/>
                <p:cNvSpPr/>
                <p:nvPr/>
              </p:nvSpPr>
              <p:spPr>
                <a:xfrm>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37" name="Rectangle 36"/>
                <p:cNvSpPr/>
                <p:nvPr/>
              </p:nvSpPr>
              <p:spPr>
                <a:xfrm rot="5400000">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grpSp>
        </p:grpSp>
      </p:grpSp>
      <p:sp>
        <p:nvSpPr>
          <p:cNvPr id="57" name="Rounded Rectangle 56"/>
          <p:cNvSpPr/>
          <p:nvPr/>
        </p:nvSpPr>
        <p:spPr>
          <a:xfrm>
            <a:off x="9468698" y="1751117"/>
            <a:ext cx="1599973" cy="1599973"/>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58" name="TextBox 57"/>
          <p:cNvSpPr txBox="1"/>
          <p:nvPr/>
        </p:nvSpPr>
        <p:spPr>
          <a:xfrm>
            <a:off x="9401739" y="1300545"/>
            <a:ext cx="1980919" cy="380946"/>
          </a:xfrm>
          <a:prstGeom prst="rect">
            <a:avLst/>
          </a:prstGeom>
        </p:spPr>
        <p:txBody>
          <a:bodyPr vert="horz" wrap="square" lIns="91427" tIns="91427" rIns="91427" bIns="91427" rtlCol="0" anchor="t">
            <a:noAutofit/>
          </a:bodyPr>
          <a:lstStyle/>
          <a:p>
            <a:pPr marL="233318" indent="-233318" defTabSz="914367"/>
            <a:r>
              <a:rPr lang="en-US" sz="1600" dirty="0">
                <a:solidFill>
                  <a:srgbClr val="FFFFFF"/>
                </a:solidFill>
                <a:ea typeface="Segoe UI" pitchFamily="34" charset="0"/>
                <a:cs typeface="Segoe UI" pitchFamily="34" charset="0"/>
              </a:rPr>
              <a:t>6) Swap</a:t>
            </a:r>
          </a:p>
        </p:txBody>
      </p:sp>
      <p:pic>
        <p:nvPicPr>
          <p:cNvPr id="23" name="Picture 22"/>
          <p:cNvPicPr>
            <a:picLocks noChangeAspect="1"/>
          </p:cNvPicPr>
          <p:nvPr/>
        </p:nvPicPr>
        <p:blipFill>
          <a:blip r:embed="rId16"/>
          <a:stretch>
            <a:fillRect/>
          </a:stretch>
        </p:blipFill>
        <p:spPr>
          <a:xfrm>
            <a:off x="9812026" y="2089675"/>
            <a:ext cx="901782" cy="971149"/>
          </a:xfrm>
          <a:prstGeom prst="rect">
            <a:avLst/>
          </a:prstGeom>
        </p:spPr>
      </p:pic>
      <p:pic>
        <p:nvPicPr>
          <p:cNvPr id="24" name="Picture 23"/>
          <p:cNvPicPr>
            <a:picLocks noChangeAspect="1"/>
          </p:cNvPicPr>
          <p:nvPr/>
        </p:nvPicPr>
        <p:blipFill>
          <a:blip r:embed="rId17"/>
          <a:stretch>
            <a:fillRect/>
          </a:stretch>
        </p:blipFill>
        <p:spPr>
          <a:xfrm>
            <a:off x="10503908" y="3789179"/>
            <a:ext cx="1226203" cy="794246"/>
          </a:xfrm>
          <a:prstGeom prst="rect">
            <a:avLst/>
          </a:prstGeom>
        </p:spPr>
      </p:pic>
      <p:pic>
        <p:nvPicPr>
          <p:cNvPr id="53" name="Picture 52"/>
          <p:cNvPicPr>
            <a:picLocks noChangeAspect="1"/>
          </p:cNvPicPr>
          <p:nvPr/>
        </p:nvPicPr>
        <p:blipFill>
          <a:blip r:embed="rId18"/>
          <a:stretch>
            <a:fillRect/>
          </a:stretch>
        </p:blipFill>
        <p:spPr>
          <a:xfrm>
            <a:off x="3218197" y="1981405"/>
            <a:ext cx="1219027" cy="1021691"/>
          </a:xfrm>
          <a:prstGeom prst="rect">
            <a:avLst/>
          </a:prstGeom>
        </p:spPr>
      </p:pic>
      <p:sp>
        <p:nvSpPr>
          <p:cNvPr id="3" name="Title 2"/>
          <p:cNvSpPr>
            <a:spLocks noGrp="1"/>
          </p:cNvSpPr>
          <p:nvPr>
            <p:ph type="title"/>
          </p:nvPr>
        </p:nvSpPr>
        <p:spPr/>
        <p:txBody>
          <a:bodyPr/>
          <a:lstStyle/>
          <a:p>
            <a:r>
              <a:rPr lang="en-US" dirty="0" smtClean="0">
                <a:solidFill>
                  <a:schemeClr val="bg1"/>
                </a:solidFill>
              </a:rPr>
              <a:t>Continuous </a:t>
            </a:r>
            <a:r>
              <a:rPr lang="en-US" dirty="0">
                <a:solidFill>
                  <a:schemeClr val="bg1"/>
                </a:solidFill>
              </a:rPr>
              <a:t>Integration cycle</a:t>
            </a:r>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298178109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ter Lasn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203377" y="1288482"/>
            <a:ext cx="5138928" cy="3854196"/>
          </a:xfrm>
          <a:prstGeom prst="rect">
            <a:avLst/>
          </a:prstGeom>
          <a:ln>
            <a:solidFill>
              <a:schemeClr val="tx2"/>
            </a:solidFill>
          </a:ln>
        </p:spPr>
      </p:pic>
      <p:sp>
        <p:nvSpPr>
          <p:cNvPr id="5" name="TextBox 4"/>
          <p:cNvSpPr txBox="1"/>
          <p:nvPr/>
        </p:nvSpPr>
        <p:spPr>
          <a:xfrm>
            <a:off x="1141413" y="1645920"/>
            <a:ext cx="5541264" cy="3139321"/>
          </a:xfrm>
          <a:prstGeom prst="rect">
            <a:avLst/>
          </a:prstGeom>
          <a:noFill/>
        </p:spPr>
        <p:txBody>
          <a:bodyPr wrap="square" rtlCol="0">
            <a:spAutoFit/>
          </a:bodyPr>
          <a:lstStyle/>
          <a:p>
            <a:r>
              <a:rPr lang="en-US" dirty="0" smtClean="0"/>
              <a:t>pelasne@microsoft.com</a:t>
            </a:r>
          </a:p>
          <a:p>
            <a:r>
              <a:rPr lang="en-US" dirty="0" smtClean="0"/>
              <a:t/>
            </a:r>
            <a:br>
              <a:rPr lang="en-US" dirty="0" smtClean="0"/>
            </a:br>
            <a:endParaRPr lang="en-US" dirty="0" smtClean="0"/>
          </a:p>
          <a:p>
            <a:pPr marL="285750" indent="-285750">
              <a:buFont typeface="Arial" panose="020B0604020202020204" pitchFamily="34" charset="0"/>
              <a:buChar char="•"/>
            </a:pPr>
            <a:r>
              <a:rPr lang="en-US" dirty="0" smtClean="0"/>
              <a:t>Cloud Solutions Architect</a:t>
            </a:r>
            <a:r>
              <a:rPr lang="en-US" dirty="0"/>
              <a:t/>
            </a:r>
            <a:br>
              <a:rPr lang="en-US" dirty="0"/>
            </a:br>
            <a:r>
              <a:rPr lang="en-US" dirty="0" smtClean="0"/>
              <a:t>Microsoft</a:t>
            </a:r>
            <a:br>
              <a:rPr lang="en-US" dirty="0" smtClean="0"/>
            </a:br>
            <a:endParaRPr lang="en-US" dirty="0" smtClean="0"/>
          </a:p>
          <a:p>
            <a:pPr marL="285750" indent="-285750">
              <a:buFont typeface="Arial" panose="020B0604020202020204" pitchFamily="34" charset="0"/>
              <a:buChar char="•"/>
            </a:pPr>
            <a:r>
              <a:rPr lang="en-US" dirty="0" smtClean="0"/>
              <a:t>Manager, Collaborative Services</a:t>
            </a:r>
            <a:r>
              <a:rPr lang="en-US" dirty="0"/>
              <a:t/>
            </a:r>
            <a:br>
              <a:rPr lang="en-US" dirty="0"/>
            </a:br>
            <a:r>
              <a:rPr lang="en-US" dirty="0" smtClean="0"/>
              <a:t>SPX</a:t>
            </a:r>
            <a:br>
              <a:rPr lang="en-US" dirty="0" smtClean="0"/>
            </a:br>
            <a:endParaRPr lang="en-US" dirty="0" smtClean="0"/>
          </a:p>
          <a:p>
            <a:pPr marL="285750" indent="-285750">
              <a:buFont typeface="Arial" panose="020B0604020202020204" pitchFamily="34" charset="0"/>
              <a:buChar char="•"/>
            </a:pPr>
            <a:r>
              <a:rPr lang="en-US" dirty="0" smtClean="0"/>
              <a:t>Director, Web &amp; Application Development</a:t>
            </a:r>
            <a:r>
              <a:rPr lang="en-US" dirty="0"/>
              <a:t/>
            </a:r>
            <a:br>
              <a:rPr lang="en-US" dirty="0"/>
            </a:br>
            <a:r>
              <a:rPr lang="en-US" dirty="0" err="1" smtClean="0"/>
              <a:t>MedCath</a:t>
            </a:r>
            <a:endParaRPr lang="en-US" dirty="0" smtClean="0"/>
          </a:p>
        </p:txBody>
      </p:sp>
    </p:spTree>
    <p:extLst>
      <p:ext uri="{BB962C8B-B14F-4D97-AF65-F5344CB8AC3E}">
        <p14:creationId xmlns:p14="http://schemas.microsoft.com/office/powerpoint/2010/main" val="24190559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Azure Service Fabric</a:t>
            </a:r>
            <a:br>
              <a:rPr lang="en-US" dirty="0" smtClean="0">
                <a:solidFill>
                  <a:schemeClr val="tx1"/>
                </a:solidFill>
              </a:rPr>
            </a:br>
            <a:r>
              <a:rPr lang="en-US" sz="2745" dirty="0">
                <a:solidFill>
                  <a:schemeClr val="tx1"/>
                </a:solidFill>
              </a:rPr>
              <a:t>A platform for reliable, </a:t>
            </a:r>
            <a:r>
              <a:rPr lang="en-US" sz="2745" dirty="0" err="1">
                <a:solidFill>
                  <a:schemeClr val="tx1"/>
                </a:solidFill>
              </a:rPr>
              <a:t>hyperscale</a:t>
            </a:r>
            <a:r>
              <a:rPr lang="en-US" sz="2745" dirty="0">
                <a:solidFill>
                  <a:schemeClr val="tx1"/>
                </a:solidFill>
              </a:rPr>
              <a:t>, </a:t>
            </a:r>
            <a:r>
              <a:rPr lang="en-US" sz="2745" dirty="0" err="1">
                <a:solidFill>
                  <a:schemeClr val="tx1"/>
                </a:solidFill>
              </a:rPr>
              <a:t>microservice</a:t>
            </a:r>
            <a:r>
              <a:rPr lang="en-US" sz="2745" dirty="0">
                <a:solidFill>
                  <a:schemeClr val="tx1"/>
                </a:solidFill>
              </a:rPr>
              <a:t>-based applications</a:t>
            </a:r>
            <a:endParaRPr lang="en-US" dirty="0">
              <a:solidFill>
                <a:schemeClr val="tx1"/>
              </a:solidFill>
            </a:endParaRPr>
          </a:p>
        </p:txBody>
      </p:sp>
      <p:sp>
        <p:nvSpPr>
          <p:cNvPr id="76" name="Rectangle 75"/>
          <p:cNvSpPr/>
          <p:nvPr/>
        </p:nvSpPr>
        <p:spPr>
          <a:xfrm>
            <a:off x="498095" y="5462274"/>
            <a:ext cx="5299097" cy="872162"/>
          </a:xfrm>
          <a:prstGeom prst="rect">
            <a:avLst/>
          </a:prstGeom>
          <a:solidFill>
            <a:schemeClr val="accent1"/>
          </a:solidFill>
          <a:ln>
            <a:solidFill>
              <a:srgbClr val="081C23"/>
            </a:solidFill>
          </a:ln>
        </p:spPr>
        <p:style>
          <a:lnRef idx="2">
            <a:schemeClr val="dk1"/>
          </a:lnRef>
          <a:fillRef idx="1">
            <a:schemeClr val="lt1"/>
          </a:fillRef>
          <a:effectRef idx="0">
            <a:schemeClr val="dk1"/>
          </a:effectRef>
          <a:fontRef idx="minor">
            <a:schemeClr val="dk1"/>
          </a:fontRef>
        </p:style>
        <p:txBody>
          <a:bodyPr rtlCol="0" anchor="ctr"/>
          <a:lstStyle/>
          <a:p>
            <a:pPr algn="ctr" defTabSz="685736"/>
            <a:r>
              <a:rPr lang="en-US" sz="2353" dirty="0">
                <a:solidFill>
                  <a:schemeClr val="bg1"/>
                </a:solidFill>
                <a:latin typeface="Segoe UI Light"/>
              </a:rPr>
              <a:t>Azure </a:t>
            </a:r>
          </a:p>
        </p:txBody>
      </p:sp>
      <p:sp>
        <p:nvSpPr>
          <p:cNvPr id="81" name="Rectangle 80"/>
          <p:cNvSpPr/>
          <p:nvPr/>
        </p:nvSpPr>
        <p:spPr>
          <a:xfrm>
            <a:off x="6053406" y="5470219"/>
            <a:ext cx="5313989" cy="872162"/>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736"/>
            <a:r>
              <a:rPr lang="en-US" sz="2353" dirty="0">
                <a:solidFill>
                  <a:schemeClr val="bg1"/>
                </a:solidFill>
                <a:latin typeface="Segoe UI Light"/>
              </a:rPr>
              <a:t>Private Clouds </a:t>
            </a:r>
          </a:p>
        </p:txBody>
      </p:sp>
      <p:sp>
        <p:nvSpPr>
          <p:cNvPr id="348" name="Hexagon 347"/>
          <p:cNvSpPr/>
          <p:nvPr/>
        </p:nvSpPr>
        <p:spPr>
          <a:xfrm>
            <a:off x="529365"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49" name="Hexagon 348"/>
          <p:cNvSpPr/>
          <p:nvPr/>
        </p:nvSpPr>
        <p:spPr>
          <a:xfrm>
            <a:off x="755762"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50" name="Hexagon 349"/>
          <p:cNvSpPr/>
          <p:nvPr/>
        </p:nvSpPr>
        <p:spPr>
          <a:xfrm>
            <a:off x="529365"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51" name="Hexagon 350"/>
          <p:cNvSpPr/>
          <p:nvPr/>
        </p:nvSpPr>
        <p:spPr>
          <a:xfrm>
            <a:off x="755762"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352" name="Straight Connector 351"/>
          <p:cNvCxnSpPr/>
          <p:nvPr/>
        </p:nvCxnSpPr>
        <p:spPr>
          <a:xfrm>
            <a:off x="664120" y="1982320"/>
            <a:ext cx="226397" cy="132971"/>
          </a:xfrm>
          <a:prstGeom prst="line">
            <a:avLst/>
          </a:prstGeom>
          <a:noFill/>
          <a:ln w="6350" cap="flat" cmpd="sng" algn="ctr">
            <a:noFill/>
            <a:prstDash val="solid"/>
            <a:miter lim="800000"/>
          </a:ln>
          <a:effectLst/>
        </p:spPr>
      </p:cxnSp>
      <p:cxnSp>
        <p:nvCxnSpPr>
          <p:cNvPr id="353" name="Straight Connector 352"/>
          <p:cNvCxnSpPr/>
          <p:nvPr/>
        </p:nvCxnSpPr>
        <p:spPr>
          <a:xfrm>
            <a:off x="664120" y="1716378"/>
            <a:ext cx="226397" cy="132971"/>
          </a:xfrm>
          <a:prstGeom prst="line">
            <a:avLst/>
          </a:prstGeom>
          <a:noFill/>
          <a:ln w="6350" cap="flat" cmpd="sng" algn="ctr">
            <a:noFill/>
            <a:prstDash val="solid"/>
            <a:miter lim="800000"/>
          </a:ln>
          <a:effectLst/>
        </p:spPr>
      </p:cxnSp>
      <p:cxnSp>
        <p:nvCxnSpPr>
          <p:cNvPr id="354" name="Straight Connector 353"/>
          <p:cNvCxnSpPr/>
          <p:nvPr/>
        </p:nvCxnSpPr>
        <p:spPr>
          <a:xfrm>
            <a:off x="886834" y="1843643"/>
            <a:ext cx="226397" cy="132971"/>
          </a:xfrm>
          <a:prstGeom prst="line">
            <a:avLst/>
          </a:prstGeom>
          <a:noFill/>
          <a:ln w="6350" cap="flat" cmpd="sng" algn="ctr">
            <a:noFill/>
            <a:prstDash val="solid"/>
            <a:miter lim="800000"/>
          </a:ln>
          <a:effectLst/>
        </p:spPr>
      </p:cxnSp>
      <p:cxnSp>
        <p:nvCxnSpPr>
          <p:cNvPr id="355" name="Straight Connector 354"/>
          <p:cNvCxnSpPr/>
          <p:nvPr/>
        </p:nvCxnSpPr>
        <p:spPr>
          <a:xfrm flipH="1">
            <a:off x="886834" y="1982320"/>
            <a:ext cx="226397" cy="132971"/>
          </a:xfrm>
          <a:prstGeom prst="line">
            <a:avLst/>
          </a:prstGeom>
          <a:noFill/>
          <a:ln w="6350" cap="flat" cmpd="sng" algn="ctr">
            <a:noFill/>
            <a:prstDash val="solid"/>
            <a:miter lim="800000"/>
          </a:ln>
          <a:effectLst/>
        </p:spPr>
      </p:cxnSp>
      <p:cxnSp>
        <p:nvCxnSpPr>
          <p:cNvPr id="356" name="Straight Connector 355"/>
          <p:cNvCxnSpPr/>
          <p:nvPr/>
        </p:nvCxnSpPr>
        <p:spPr>
          <a:xfrm>
            <a:off x="886835" y="1855055"/>
            <a:ext cx="32" cy="263319"/>
          </a:xfrm>
          <a:prstGeom prst="line">
            <a:avLst/>
          </a:prstGeom>
          <a:noFill/>
          <a:ln w="6350" cap="flat" cmpd="sng" algn="ctr">
            <a:noFill/>
            <a:prstDash val="solid"/>
            <a:miter lim="800000"/>
          </a:ln>
          <a:effectLst/>
        </p:spPr>
      </p:cxnSp>
      <p:cxnSp>
        <p:nvCxnSpPr>
          <p:cNvPr id="357" name="Straight Connector 356"/>
          <p:cNvCxnSpPr/>
          <p:nvPr/>
        </p:nvCxnSpPr>
        <p:spPr>
          <a:xfrm flipV="1">
            <a:off x="660470" y="1849349"/>
            <a:ext cx="226364" cy="127265"/>
          </a:xfrm>
          <a:prstGeom prst="line">
            <a:avLst/>
          </a:prstGeom>
          <a:noFill/>
          <a:ln w="6350" cap="flat" cmpd="sng" algn="ctr">
            <a:noFill/>
            <a:prstDash val="solid"/>
            <a:miter lim="800000"/>
          </a:ln>
          <a:effectLst/>
        </p:spPr>
      </p:cxnSp>
      <p:cxnSp>
        <p:nvCxnSpPr>
          <p:cNvPr id="358" name="Straight Connector 357"/>
          <p:cNvCxnSpPr/>
          <p:nvPr/>
        </p:nvCxnSpPr>
        <p:spPr>
          <a:xfrm flipV="1">
            <a:off x="886834" y="1710671"/>
            <a:ext cx="226397" cy="144383"/>
          </a:xfrm>
          <a:prstGeom prst="line">
            <a:avLst/>
          </a:prstGeom>
          <a:noFill/>
          <a:ln w="6350" cap="flat" cmpd="sng" algn="ctr">
            <a:noFill/>
            <a:prstDash val="solid"/>
            <a:miter lim="800000"/>
          </a:ln>
          <a:effectLst/>
        </p:spPr>
      </p:cxnSp>
      <p:cxnSp>
        <p:nvCxnSpPr>
          <p:cNvPr id="359" name="Straight Connector 358"/>
          <p:cNvCxnSpPr/>
          <p:nvPr/>
        </p:nvCxnSpPr>
        <p:spPr>
          <a:xfrm>
            <a:off x="664104" y="1740514"/>
            <a:ext cx="32" cy="263319"/>
          </a:xfrm>
          <a:prstGeom prst="line">
            <a:avLst/>
          </a:prstGeom>
          <a:noFill/>
          <a:ln w="6350" cap="flat" cmpd="sng" algn="ctr">
            <a:noFill/>
            <a:prstDash val="solid"/>
            <a:miter lim="800000"/>
          </a:ln>
          <a:effectLst/>
        </p:spPr>
      </p:cxnSp>
      <p:sp>
        <p:nvSpPr>
          <p:cNvPr id="360" name="Hexagon 359"/>
          <p:cNvSpPr/>
          <p:nvPr/>
        </p:nvSpPr>
        <p:spPr>
          <a:xfrm>
            <a:off x="979361"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61" name="Hexagon 360"/>
          <p:cNvSpPr/>
          <p:nvPr/>
        </p:nvSpPr>
        <p:spPr>
          <a:xfrm>
            <a:off x="1205758"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62" name="Hexagon 361"/>
          <p:cNvSpPr/>
          <p:nvPr/>
        </p:nvSpPr>
        <p:spPr>
          <a:xfrm>
            <a:off x="979361"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63" name="Hexagon 362"/>
          <p:cNvSpPr/>
          <p:nvPr/>
        </p:nvSpPr>
        <p:spPr>
          <a:xfrm>
            <a:off x="1205758"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364" name="Straight Connector 363"/>
          <p:cNvCxnSpPr/>
          <p:nvPr/>
        </p:nvCxnSpPr>
        <p:spPr>
          <a:xfrm>
            <a:off x="1114117" y="1982320"/>
            <a:ext cx="226397" cy="132971"/>
          </a:xfrm>
          <a:prstGeom prst="line">
            <a:avLst/>
          </a:prstGeom>
          <a:noFill/>
          <a:ln w="6350" cap="flat" cmpd="sng" algn="ctr">
            <a:noFill/>
            <a:prstDash val="solid"/>
            <a:miter lim="800000"/>
          </a:ln>
          <a:effectLst/>
        </p:spPr>
      </p:cxnSp>
      <p:cxnSp>
        <p:nvCxnSpPr>
          <p:cNvPr id="365" name="Straight Connector 364"/>
          <p:cNvCxnSpPr/>
          <p:nvPr/>
        </p:nvCxnSpPr>
        <p:spPr>
          <a:xfrm>
            <a:off x="1114117" y="1720838"/>
            <a:ext cx="226397" cy="132971"/>
          </a:xfrm>
          <a:prstGeom prst="line">
            <a:avLst/>
          </a:prstGeom>
          <a:noFill/>
          <a:ln w="6350" cap="flat" cmpd="sng" algn="ctr">
            <a:noFill/>
            <a:prstDash val="solid"/>
            <a:miter lim="800000"/>
          </a:ln>
          <a:effectLst/>
        </p:spPr>
      </p:cxnSp>
      <p:cxnSp>
        <p:nvCxnSpPr>
          <p:cNvPr id="366" name="Straight Connector 365"/>
          <p:cNvCxnSpPr/>
          <p:nvPr/>
        </p:nvCxnSpPr>
        <p:spPr>
          <a:xfrm>
            <a:off x="1336831" y="1843643"/>
            <a:ext cx="226397" cy="132971"/>
          </a:xfrm>
          <a:prstGeom prst="line">
            <a:avLst/>
          </a:prstGeom>
          <a:noFill/>
          <a:ln w="6350" cap="flat" cmpd="sng" algn="ctr">
            <a:noFill/>
            <a:prstDash val="solid"/>
            <a:miter lim="800000"/>
          </a:ln>
          <a:effectLst/>
        </p:spPr>
      </p:cxnSp>
      <p:cxnSp>
        <p:nvCxnSpPr>
          <p:cNvPr id="367" name="Straight Connector 366"/>
          <p:cNvCxnSpPr/>
          <p:nvPr/>
        </p:nvCxnSpPr>
        <p:spPr>
          <a:xfrm flipH="1">
            <a:off x="1336831" y="1982320"/>
            <a:ext cx="226397" cy="132971"/>
          </a:xfrm>
          <a:prstGeom prst="line">
            <a:avLst/>
          </a:prstGeom>
          <a:noFill/>
          <a:ln w="6350" cap="flat" cmpd="sng" algn="ctr">
            <a:noFill/>
            <a:prstDash val="solid"/>
            <a:miter lim="800000"/>
          </a:ln>
          <a:effectLst/>
        </p:spPr>
      </p:cxnSp>
      <p:cxnSp>
        <p:nvCxnSpPr>
          <p:cNvPr id="368" name="Straight Connector 367"/>
          <p:cNvCxnSpPr/>
          <p:nvPr/>
        </p:nvCxnSpPr>
        <p:spPr>
          <a:xfrm>
            <a:off x="1336832" y="1855055"/>
            <a:ext cx="32" cy="263319"/>
          </a:xfrm>
          <a:prstGeom prst="line">
            <a:avLst/>
          </a:prstGeom>
          <a:noFill/>
          <a:ln w="6350" cap="flat" cmpd="sng" algn="ctr">
            <a:noFill/>
            <a:prstDash val="solid"/>
            <a:miter lim="800000"/>
          </a:ln>
          <a:effectLst/>
        </p:spPr>
      </p:cxnSp>
      <p:cxnSp>
        <p:nvCxnSpPr>
          <p:cNvPr id="369" name="Straight Connector 368"/>
          <p:cNvCxnSpPr/>
          <p:nvPr/>
        </p:nvCxnSpPr>
        <p:spPr>
          <a:xfrm flipV="1">
            <a:off x="1110467" y="1849349"/>
            <a:ext cx="226364" cy="127265"/>
          </a:xfrm>
          <a:prstGeom prst="line">
            <a:avLst/>
          </a:prstGeom>
          <a:noFill/>
          <a:ln w="6350" cap="flat" cmpd="sng" algn="ctr">
            <a:noFill/>
            <a:prstDash val="solid"/>
            <a:miter lim="800000"/>
          </a:ln>
          <a:effectLst/>
        </p:spPr>
      </p:cxnSp>
      <p:cxnSp>
        <p:nvCxnSpPr>
          <p:cNvPr id="370" name="Straight Connector 369"/>
          <p:cNvCxnSpPr/>
          <p:nvPr/>
        </p:nvCxnSpPr>
        <p:spPr>
          <a:xfrm flipV="1">
            <a:off x="1336831" y="1710671"/>
            <a:ext cx="226397" cy="144383"/>
          </a:xfrm>
          <a:prstGeom prst="line">
            <a:avLst/>
          </a:prstGeom>
          <a:noFill/>
          <a:ln w="6350" cap="flat" cmpd="sng" algn="ctr">
            <a:noFill/>
            <a:prstDash val="solid"/>
            <a:miter lim="800000"/>
          </a:ln>
          <a:effectLst/>
        </p:spPr>
      </p:cxnSp>
      <p:cxnSp>
        <p:nvCxnSpPr>
          <p:cNvPr id="371" name="Straight Connector 370"/>
          <p:cNvCxnSpPr/>
          <p:nvPr/>
        </p:nvCxnSpPr>
        <p:spPr>
          <a:xfrm>
            <a:off x="1114100" y="1740514"/>
            <a:ext cx="32" cy="263319"/>
          </a:xfrm>
          <a:prstGeom prst="line">
            <a:avLst/>
          </a:prstGeom>
          <a:noFill/>
          <a:ln w="6350" cap="flat" cmpd="sng" algn="ctr">
            <a:noFill/>
            <a:prstDash val="solid"/>
            <a:miter lim="800000"/>
          </a:ln>
          <a:effectLst/>
        </p:spPr>
      </p:cxnSp>
      <p:sp>
        <p:nvSpPr>
          <p:cNvPr id="372" name="Hexagon 371"/>
          <p:cNvSpPr/>
          <p:nvPr/>
        </p:nvSpPr>
        <p:spPr>
          <a:xfrm>
            <a:off x="1431795"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73" name="Hexagon 372"/>
          <p:cNvSpPr/>
          <p:nvPr/>
        </p:nvSpPr>
        <p:spPr>
          <a:xfrm>
            <a:off x="1658192"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74" name="Hexagon 373"/>
          <p:cNvSpPr/>
          <p:nvPr/>
        </p:nvSpPr>
        <p:spPr>
          <a:xfrm>
            <a:off x="1431795"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75" name="Hexagon 374"/>
          <p:cNvSpPr/>
          <p:nvPr/>
        </p:nvSpPr>
        <p:spPr>
          <a:xfrm>
            <a:off x="1658192"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376" name="Straight Connector 375"/>
          <p:cNvCxnSpPr/>
          <p:nvPr/>
        </p:nvCxnSpPr>
        <p:spPr>
          <a:xfrm>
            <a:off x="1566551" y="1982320"/>
            <a:ext cx="226397" cy="132971"/>
          </a:xfrm>
          <a:prstGeom prst="line">
            <a:avLst/>
          </a:prstGeom>
          <a:noFill/>
          <a:ln w="6350" cap="flat" cmpd="sng" algn="ctr">
            <a:noFill/>
            <a:prstDash val="solid"/>
            <a:miter lim="800000"/>
          </a:ln>
          <a:effectLst/>
        </p:spPr>
      </p:cxnSp>
      <p:cxnSp>
        <p:nvCxnSpPr>
          <p:cNvPr id="377" name="Straight Connector 376"/>
          <p:cNvCxnSpPr/>
          <p:nvPr/>
        </p:nvCxnSpPr>
        <p:spPr>
          <a:xfrm>
            <a:off x="1566551" y="1716378"/>
            <a:ext cx="226397" cy="132971"/>
          </a:xfrm>
          <a:prstGeom prst="line">
            <a:avLst/>
          </a:prstGeom>
          <a:noFill/>
          <a:ln w="6350" cap="flat" cmpd="sng" algn="ctr">
            <a:noFill/>
            <a:prstDash val="solid"/>
            <a:miter lim="800000"/>
          </a:ln>
          <a:effectLst/>
        </p:spPr>
      </p:cxnSp>
      <p:cxnSp>
        <p:nvCxnSpPr>
          <p:cNvPr id="378" name="Straight Connector 377"/>
          <p:cNvCxnSpPr/>
          <p:nvPr/>
        </p:nvCxnSpPr>
        <p:spPr>
          <a:xfrm>
            <a:off x="1789265" y="1843643"/>
            <a:ext cx="226397" cy="132971"/>
          </a:xfrm>
          <a:prstGeom prst="line">
            <a:avLst/>
          </a:prstGeom>
          <a:noFill/>
          <a:ln w="6350" cap="flat" cmpd="sng" algn="ctr">
            <a:noFill/>
            <a:prstDash val="solid"/>
            <a:miter lim="800000"/>
          </a:ln>
          <a:effectLst/>
        </p:spPr>
      </p:cxnSp>
      <p:cxnSp>
        <p:nvCxnSpPr>
          <p:cNvPr id="379" name="Straight Connector 378"/>
          <p:cNvCxnSpPr/>
          <p:nvPr/>
        </p:nvCxnSpPr>
        <p:spPr>
          <a:xfrm flipH="1">
            <a:off x="1789265" y="1982320"/>
            <a:ext cx="226397" cy="132971"/>
          </a:xfrm>
          <a:prstGeom prst="line">
            <a:avLst/>
          </a:prstGeom>
          <a:noFill/>
          <a:ln w="6350" cap="flat" cmpd="sng" algn="ctr">
            <a:noFill/>
            <a:prstDash val="solid"/>
            <a:miter lim="800000"/>
          </a:ln>
          <a:effectLst/>
        </p:spPr>
      </p:cxnSp>
      <p:cxnSp>
        <p:nvCxnSpPr>
          <p:cNvPr id="380" name="Straight Connector 379"/>
          <p:cNvCxnSpPr/>
          <p:nvPr/>
        </p:nvCxnSpPr>
        <p:spPr>
          <a:xfrm>
            <a:off x="1789266" y="1855055"/>
            <a:ext cx="32" cy="263319"/>
          </a:xfrm>
          <a:prstGeom prst="line">
            <a:avLst/>
          </a:prstGeom>
          <a:noFill/>
          <a:ln w="6350" cap="flat" cmpd="sng" algn="ctr">
            <a:noFill/>
            <a:prstDash val="solid"/>
            <a:miter lim="800000"/>
          </a:ln>
          <a:effectLst/>
        </p:spPr>
      </p:cxnSp>
      <p:cxnSp>
        <p:nvCxnSpPr>
          <p:cNvPr id="381" name="Straight Connector 380"/>
          <p:cNvCxnSpPr/>
          <p:nvPr/>
        </p:nvCxnSpPr>
        <p:spPr>
          <a:xfrm flipV="1">
            <a:off x="1562901" y="1849349"/>
            <a:ext cx="226364" cy="127265"/>
          </a:xfrm>
          <a:prstGeom prst="line">
            <a:avLst/>
          </a:prstGeom>
          <a:noFill/>
          <a:ln w="6350" cap="flat" cmpd="sng" algn="ctr">
            <a:noFill/>
            <a:prstDash val="solid"/>
            <a:miter lim="800000"/>
          </a:ln>
          <a:effectLst/>
        </p:spPr>
      </p:cxnSp>
      <p:cxnSp>
        <p:nvCxnSpPr>
          <p:cNvPr id="382" name="Straight Connector 381"/>
          <p:cNvCxnSpPr/>
          <p:nvPr/>
        </p:nvCxnSpPr>
        <p:spPr>
          <a:xfrm flipV="1">
            <a:off x="1789265" y="1710671"/>
            <a:ext cx="226397" cy="144383"/>
          </a:xfrm>
          <a:prstGeom prst="line">
            <a:avLst/>
          </a:prstGeom>
          <a:noFill/>
          <a:ln w="6350" cap="flat" cmpd="sng" algn="ctr">
            <a:noFill/>
            <a:prstDash val="solid"/>
            <a:miter lim="800000"/>
          </a:ln>
          <a:effectLst/>
        </p:spPr>
      </p:cxnSp>
      <p:cxnSp>
        <p:nvCxnSpPr>
          <p:cNvPr id="383" name="Straight Connector 382"/>
          <p:cNvCxnSpPr/>
          <p:nvPr/>
        </p:nvCxnSpPr>
        <p:spPr>
          <a:xfrm>
            <a:off x="1566534" y="1744974"/>
            <a:ext cx="32" cy="263319"/>
          </a:xfrm>
          <a:prstGeom prst="line">
            <a:avLst/>
          </a:prstGeom>
          <a:noFill/>
          <a:ln w="6350" cap="flat" cmpd="sng" algn="ctr">
            <a:noFill/>
            <a:prstDash val="solid"/>
            <a:miter lim="800000"/>
          </a:ln>
          <a:effectLst/>
        </p:spPr>
      </p:cxnSp>
      <p:sp>
        <p:nvSpPr>
          <p:cNvPr id="384" name="Hexagon 383"/>
          <p:cNvSpPr/>
          <p:nvPr/>
        </p:nvSpPr>
        <p:spPr>
          <a:xfrm>
            <a:off x="1881792"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85" name="Hexagon 384"/>
          <p:cNvSpPr/>
          <p:nvPr/>
        </p:nvSpPr>
        <p:spPr>
          <a:xfrm>
            <a:off x="2108189"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86" name="Hexagon 385"/>
          <p:cNvSpPr/>
          <p:nvPr/>
        </p:nvSpPr>
        <p:spPr>
          <a:xfrm>
            <a:off x="1881792"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87" name="Hexagon 386"/>
          <p:cNvSpPr/>
          <p:nvPr/>
        </p:nvSpPr>
        <p:spPr>
          <a:xfrm>
            <a:off x="2108189"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388" name="Straight Connector 387"/>
          <p:cNvCxnSpPr/>
          <p:nvPr/>
        </p:nvCxnSpPr>
        <p:spPr>
          <a:xfrm>
            <a:off x="2016547" y="1982320"/>
            <a:ext cx="226397" cy="132971"/>
          </a:xfrm>
          <a:prstGeom prst="line">
            <a:avLst/>
          </a:prstGeom>
          <a:noFill/>
          <a:ln w="6350" cap="flat" cmpd="sng" algn="ctr">
            <a:noFill/>
            <a:prstDash val="solid"/>
            <a:miter lim="800000"/>
          </a:ln>
          <a:effectLst/>
        </p:spPr>
      </p:cxnSp>
      <p:cxnSp>
        <p:nvCxnSpPr>
          <p:cNvPr id="389" name="Straight Connector 388"/>
          <p:cNvCxnSpPr/>
          <p:nvPr/>
        </p:nvCxnSpPr>
        <p:spPr>
          <a:xfrm>
            <a:off x="2016547" y="1716378"/>
            <a:ext cx="226397" cy="132971"/>
          </a:xfrm>
          <a:prstGeom prst="line">
            <a:avLst/>
          </a:prstGeom>
          <a:noFill/>
          <a:ln w="6350" cap="flat" cmpd="sng" algn="ctr">
            <a:noFill/>
            <a:prstDash val="solid"/>
            <a:miter lim="800000"/>
          </a:ln>
          <a:effectLst/>
        </p:spPr>
      </p:cxnSp>
      <p:cxnSp>
        <p:nvCxnSpPr>
          <p:cNvPr id="390" name="Straight Connector 389"/>
          <p:cNvCxnSpPr/>
          <p:nvPr/>
        </p:nvCxnSpPr>
        <p:spPr>
          <a:xfrm>
            <a:off x="2239261" y="1843643"/>
            <a:ext cx="226397" cy="132971"/>
          </a:xfrm>
          <a:prstGeom prst="line">
            <a:avLst/>
          </a:prstGeom>
          <a:noFill/>
          <a:ln w="6350" cap="flat" cmpd="sng" algn="ctr">
            <a:noFill/>
            <a:prstDash val="solid"/>
            <a:miter lim="800000"/>
          </a:ln>
          <a:effectLst/>
        </p:spPr>
      </p:cxnSp>
      <p:cxnSp>
        <p:nvCxnSpPr>
          <p:cNvPr id="391" name="Straight Connector 390"/>
          <p:cNvCxnSpPr/>
          <p:nvPr/>
        </p:nvCxnSpPr>
        <p:spPr>
          <a:xfrm flipH="1">
            <a:off x="2239261" y="1982320"/>
            <a:ext cx="226397" cy="132971"/>
          </a:xfrm>
          <a:prstGeom prst="line">
            <a:avLst/>
          </a:prstGeom>
          <a:noFill/>
          <a:ln w="6350" cap="flat" cmpd="sng" algn="ctr">
            <a:noFill/>
            <a:prstDash val="solid"/>
            <a:miter lim="800000"/>
          </a:ln>
          <a:effectLst/>
        </p:spPr>
      </p:cxnSp>
      <p:cxnSp>
        <p:nvCxnSpPr>
          <p:cNvPr id="392" name="Straight Connector 391"/>
          <p:cNvCxnSpPr/>
          <p:nvPr/>
        </p:nvCxnSpPr>
        <p:spPr>
          <a:xfrm>
            <a:off x="2239262" y="1850596"/>
            <a:ext cx="32" cy="263319"/>
          </a:xfrm>
          <a:prstGeom prst="line">
            <a:avLst/>
          </a:prstGeom>
          <a:noFill/>
          <a:ln w="6350" cap="flat" cmpd="sng" algn="ctr">
            <a:noFill/>
            <a:prstDash val="solid"/>
            <a:miter lim="800000"/>
          </a:ln>
          <a:effectLst/>
        </p:spPr>
      </p:cxnSp>
      <p:cxnSp>
        <p:nvCxnSpPr>
          <p:cNvPr id="393" name="Straight Connector 392"/>
          <p:cNvCxnSpPr/>
          <p:nvPr/>
        </p:nvCxnSpPr>
        <p:spPr>
          <a:xfrm flipV="1">
            <a:off x="2012897" y="1849349"/>
            <a:ext cx="226364" cy="127265"/>
          </a:xfrm>
          <a:prstGeom prst="line">
            <a:avLst/>
          </a:prstGeom>
          <a:noFill/>
          <a:ln w="6350" cap="flat" cmpd="sng" algn="ctr">
            <a:noFill/>
            <a:prstDash val="solid"/>
            <a:miter lim="800000"/>
          </a:ln>
          <a:effectLst/>
        </p:spPr>
      </p:cxnSp>
      <p:cxnSp>
        <p:nvCxnSpPr>
          <p:cNvPr id="394" name="Straight Connector 393"/>
          <p:cNvCxnSpPr/>
          <p:nvPr/>
        </p:nvCxnSpPr>
        <p:spPr>
          <a:xfrm flipV="1">
            <a:off x="2239261" y="1710671"/>
            <a:ext cx="226397" cy="144383"/>
          </a:xfrm>
          <a:prstGeom prst="line">
            <a:avLst/>
          </a:prstGeom>
          <a:noFill/>
          <a:ln w="6350" cap="flat" cmpd="sng" algn="ctr">
            <a:noFill/>
            <a:prstDash val="solid"/>
            <a:miter lim="800000"/>
          </a:ln>
          <a:effectLst/>
        </p:spPr>
      </p:cxnSp>
      <p:cxnSp>
        <p:nvCxnSpPr>
          <p:cNvPr id="395" name="Straight Connector 394"/>
          <p:cNvCxnSpPr/>
          <p:nvPr/>
        </p:nvCxnSpPr>
        <p:spPr>
          <a:xfrm>
            <a:off x="2016531" y="1744974"/>
            <a:ext cx="32" cy="263319"/>
          </a:xfrm>
          <a:prstGeom prst="line">
            <a:avLst/>
          </a:prstGeom>
          <a:noFill/>
          <a:ln w="6350" cap="flat" cmpd="sng" algn="ctr">
            <a:noFill/>
            <a:prstDash val="solid"/>
            <a:miter lim="800000"/>
          </a:ln>
          <a:effectLst/>
        </p:spPr>
      </p:cxnSp>
      <p:sp>
        <p:nvSpPr>
          <p:cNvPr id="396" name="Hexagon 395"/>
          <p:cNvSpPr/>
          <p:nvPr/>
        </p:nvSpPr>
        <p:spPr>
          <a:xfrm>
            <a:off x="2331788"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97" name="Hexagon 396"/>
          <p:cNvSpPr/>
          <p:nvPr/>
        </p:nvSpPr>
        <p:spPr>
          <a:xfrm>
            <a:off x="2554586"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98" name="Hexagon 397"/>
          <p:cNvSpPr/>
          <p:nvPr/>
        </p:nvSpPr>
        <p:spPr>
          <a:xfrm>
            <a:off x="2331788"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399" name="Hexagon 398"/>
          <p:cNvSpPr/>
          <p:nvPr/>
        </p:nvSpPr>
        <p:spPr>
          <a:xfrm>
            <a:off x="2554586"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00" name="Straight Connector 399"/>
          <p:cNvCxnSpPr/>
          <p:nvPr/>
        </p:nvCxnSpPr>
        <p:spPr>
          <a:xfrm>
            <a:off x="2462944" y="1982320"/>
            <a:ext cx="226397" cy="132971"/>
          </a:xfrm>
          <a:prstGeom prst="line">
            <a:avLst/>
          </a:prstGeom>
          <a:noFill/>
          <a:ln w="6350" cap="flat" cmpd="sng" algn="ctr">
            <a:noFill/>
            <a:prstDash val="solid"/>
            <a:miter lim="800000"/>
          </a:ln>
          <a:effectLst/>
        </p:spPr>
      </p:cxnSp>
      <p:cxnSp>
        <p:nvCxnSpPr>
          <p:cNvPr id="401" name="Straight Connector 400"/>
          <p:cNvCxnSpPr/>
          <p:nvPr/>
        </p:nvCxnSpPr>
        <p:spPr>
          <a:xfrm>
            <a:off x="2462944" y="1716378"/>
            <a:ext cx="226397" cy="132971"/>
          </a:xfrm>
          <a:prstGeom prst="line">
            <a:avLst/>
          </a:prstGeom>
          <a:noFill/>
          <a:ln w="6350" cap="flat" cmpd="sng" algn="ctr">
            <a:noFill/>
            <a:prstDash val="solid"/>
            <a:miter lim="800000"/>
          </a:ln>
          <a:effectLst/>
        </p:spPr>
      </p:cxnSp>
      <p:cxnSp>
        <p:nvCxnSpPr>
          <p:cNvPr id="402" name="Straight Connector 401"/>
          <p:cNvCxnSpPr/>
          <p:nvPr/>
        </p:nvCxnSpPr>
        <p:spPr>
          <a:xfrm>
            <a:off x="2685658" y="1843643"/>
            <a:ext cx="226397" cy="132971"/>
          </a:xfrm>
          <a:prstGeom prst="line">
            <a:avLst/>
          </a:prstGeom>
          <a:noFill/>
          <a:ln w="6350" cap="flat" cmpd="sng" algn="ctr">
            <a:noFill/>
            <a:prstDash val="solid"/>
            <a:miter lim="800000"/>
          </a:ln>
          <a:effectLst/>
        </p:spPr>
      </p:cxnSp>
      <p:cxnSp>
        <p:nvCxnSpPr>
          <p:cNvPr id="403" name="Straight Connector 402"/>
          <p:cNvCxnSpPr/>
          <p:nvPr/>
        </p:nvCxnSpPr>
        <p:spPr>
          <a:xfrm flipH="1">
            <a:off x="2685658" y="1982320"/>
            <a:ext cx="226397" cy="132971"/>
          </a:xfrm>
          <a:prstGeom prst="line">
            <a:avLst/>
          </a:prstGeom>
          <a:noFill/>
          <a:ln w="6350" cap="flat" cmpd="sng" algn="ctr">
            <a:noFill/>
            <a:prstDash val="solid"/>
            <a:miter lim="800000"/>
          </a:ln>
          <a:effectLst/>
        </p:spPr>
      </p:cxnSp>
      <p:cxnSp>
        <p:nvCxnSpPr>
          <p:cNvPr id="404" name="Straight Connector 403"/>
          <p:cNvCxnSpPr/>
          <p:nvPr/>
        </p:nvCxnSpPr>
        <p:spPr>
          <a:xfrm>
            <a:off x="2685659" y="1855055"/>
            <a:ext cx="32" cy="263319"/>
          </a:xfrm>
          <a:prstGeom prst="line">
            <a:avLst/>
          </a:prstGeom>
          <a:noFill/>
          <a:ln w="6350" cap="flat" cmpd="sng" algn="ctr">
            <a:noFill/>
            <a:prstDash val="solid"/>
            <a:miter lim="800000"/>
          </a:ln>
          <a:effectLst/>
        </p:spPr>
      </p:cxnSp>
      <p:cxnSp>
        <p:nvCxnSpPr>
          <p:cNvPr id="405" name="Straight Connector 404"/>
          <p:cNvCxnSpPr/>
          <p:nvPr/>
        </p:nvCxnSpPr>
        <p:spPr>
          <a:xfrm flipV="1">
            <a:off x="2459294" y="1849349"/>
            <a:ext cx="226364" cy="127265"/>
          </a:xfrm>
          <a:prstGeom prst="line">
            <a:avLst/>
          </a:prstGeom>
          <a:noFill/>
          <a:ln w="6350" cap="flat" cmpd="sng" algn="ctr">
            <a:noFill/>
            <a:prstDash val="solid"/>
            <a:miter lim="800000"/>
          </a:ln>
          <a:effectLst/>
        </p:spPr>
      </p:cxnSp>
      <p:cxnSp>
        <p:nvCxnSpPr>
          <p:cNvPr id="406" name="Straight Connector 405"/>
          <p:cNvCxnSpPr/>
          <p:nvPr/>
        </p:nvCxnSpPr>
        <p:spPr>
          <a:xfrm flipV="1">
            <a:off x="2685658" y="1710671"/>
            <a:ext cx="226397" cy="144383"/>
          </a:xfrm>
          <a:prstGeom prst="line">
            <a:avLst/>
          </a:prstGeom>
          <a:noFill/>
          <a:ln w="6350" cap="flat" cmpd="sng" algn="ctr">
            <a:noFill/>
            <a:prstDash val="solid"/>
            <a:miter lim="800000"/>
          </a:ln>
          <a:effectLst/>
        </p:spPr>
      </p:cxnSp>
      <p:cxnSp>
        <p:nvCxnSpPr>
          <p:cNvPr id="407" name="Straight Connector 406"/>
          <p:cNvCxnSpPr/>
          <p:nvPr/>
        </p:nvCxnSpPr>
        <p:spPr>
          <a:xfrm>
            <a:off x="2466527" y="1740514"/>
            <a:ext cx="32" cy="263319"/>
          </a:xfrm>
          <a:prstGeom prst="line">
            <a:avLst/>
          </a:prstGeom>
          <a:noFill/>
          <a:ln w="6350" cap="flat" cmpd="sng" algn="ctr">
            <a:noFill/>
            <a:prstDash val="solid"/>
            <a:miter lim="800000"/>
          </a:ln>
          <a:effectLst/>
        </p:spPr>
      </p:cxnSp>
      <p:sp>
        <p:nvSpPr>
          <p:cNvPr id="408" name="Hexagon 407"/>
          <p:cNvSpPr/>
          <p:nvPr/>
        </p:nvSpPr>
        <p:spPr>
          <a:xfrm>
            <a:off x="2778185"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09" name="Hexagon 408"/>
          <p:cNvSpPr/>
          <p:nvPr/>
        </p:nvSpPr>
        <p:spPr>
          <a:xfrm>
            <a:off x="3004582"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10" name="Hexagon 409"/>
          <p:cNvSpPr/>
          <p:nvPr/>
        </p:nvSpPr>
        <p:spPr>
          <a:xfrm>
            <a:off x="2778185"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11" name="Hexagon 410"/>
          <p:cNvSpPr/>
          <p:nvPr/>
        </p:nvSpPr>
        <p:spPr>
          <a:xfrm>
            <a:off x="3004582"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12" name="Straight Connector 411"/>
          <p:cNvCxnSpPr/>
          <p:nvPr/>
        </p:nvCxnSpPr>
        <p:spPr>
          <a:xfrm>
            <a:off x="2912941" y="1982320"/>
            <a:ext cx="226397" cy="132971"/>
          </a:xfrm>
          <a:prstGeom prst="line">
            <a:avLst/>
          </a:prstGeom>
          <a:noFill/>
          <a:ln w="6350" cap="flat" cmpd="sng" algn="ctr">
            <a:noFill/>
            <a:prstDash val="solid"/>
            <a:miter lim="800000"/>
          </a:ln>
          <a:effectLst/>
        </p:spPr>
      </p:cxnSp>
      <p:cxnSp>
        <p:nvCxnSpPr>
          <p:cNvPr id="413" name="Straight Connector 412"/>
          <p:cNvCxnSpPr/>
          <p:nvPr/>
        </p:nvCxnSpPr>
        <p:spPr>
          <a:xfrm>
            <a:off x="2912941" y="1716378"/>
            <a:ext cx="226397" cy="132971"/>
          </a:xfrm>
          <a:prstGeom prst="line">
            <a:avLst/>
          </a:prstGeom>
          <a:noFill/>
          <a:ln w="6350" cap="flat" cmpd="sng" algn="ctr">
            <a:noFill/>
            <a:prstDash val="solid"/>
            <a:miter lim="800000"/>
          </a:ln>
          <a:effectLst/>
        </p:spPr>
      </p:cxnSp>
      <p:cxnSp>
        <p:nvCxnSpPr>
          <p:cNvPr id="414" name="Straight Connector 413"/>
          <p:cNvCxnSpPr/>
          <p:nvPr/>
        </p:nvCxnSpPr>
        <p:spPr>
          <a:xfrm>
            <a:off x="3135655" y="1843643"/>
            <a:ext cx="226397" cy="132971"/>
          </a:xfrm>
          <a:prstGeom prst="line">
            <a:avLst/>
          </a:prstGeom>
          <a:noFill/>
          <a:ln w="6350" cap="flat" cmpd="sng" algn="ctr">
            <a:noFill/>
            <a:prstDash val="solid"/>
            <a:miter lim="800000"/>
          </a:ln>
          <a:effectLst/>
        </p:spPr>
      </p:cxnSp>
      <p:cxnSp>
        <p:nvCxnSpPr>
          <p:cNvPr id="415" name="Straight Connector 414"/>
          <p:cNvCxnSpPr/>
          <p:nvPr/>
        </p:nvCxnSpPr>
        <p:spPr>
          <a:xfrm flipH="1">
            <a:off x="3135655" y="1982320"/>
            <a:ext cx="226397" cy="132971"/>
          </a:xfrm>
          <a:prstGeom prst="line">
            <a:avLst/>
          </a:prstGeom>
          <a:noFill/>
          <a:ln w="6350" cap="flat" cmpd="sng" algn="ctr">
            <a:noFill/>
            <a:prstDash val="solid"/>
            <a:miter lim="800000"/>
          </a:ln>
          <a:effectLst/>
        </p:spPr>
      </p:cxnSp>
      <p:cxnSp>
        <p:nvCxnSpPr>
          <p:cNvPr id="416" name="Straight Connector 415"/>
          <p:cNvCxnSpPr/>
          <p:nvPr/>
        </p:nvCxnSpPr>
        <p:spPr>
          <a:xfrm>
            <a:off x="3135656" y="1855055"/>
            <a:ext cx="32" cy="263319"/>
          </a:xfrm>
          <a:prstGeom prst="line">
            <a:avLst/>
          </a:prstGeom>
          <a:noFill/>
          <a:ln w="6350" cap="flat" cmpd="sng" algn="ctr">
            <a:noFill/>
            <a:prstDash val="solid"/>
            <a:miter lim="800000"/>
          </a:ln>
          <a:effectLst/>
        </p:spPr>
      </p:cxnSp>
      <p:cxnSp>
        <p:nvCxnSpPr>
          <p:cNvPr id="417" name="Straight Connector 416"/>
          <p:cNvCxnSpPr/>
          <p:nvPr/>
        </p:nvCxnSpPr>
        <p:spPr>
          <a:xfrm flipV="1">
            <a:off x="2909291" y="1849349"/>
            <a:ext cx="226364" cy="127265"/>
          </a:xfrm>
          <a:prstGeom prst="line">
            <a:avLst/>
          </a:prstGeom>
          <a:noFill/>
          <a:ln w="6350" cap="flat" cmpd="sng" algn="ctr">
            <a:noFill/>
            <a:prstDash val="solid"/>
            <a:miter lim="800000"/>
          </a:ln>
          <a:effectLst/>
        </p:spPr>
      </p:cxnSp>
      <p:cxnSp>
        <p:nvCxnSpPr>
          <p:cNvPr id="418" name="Straight Connector 417"/>
          <p:cNvCxnSpPr/>
          <p:nvPr/>
        </p:nvCxnSpPr>
        <p:spPr>
          <a:xfrm flipV="1">
            <a:off x="3135655" y="1710671"/>
            <a:ext cx="226397" cy="144383"/>
          </a:xfrm>
          <a:prstGeom prst="line">
            <a:avLst/>
          </a:prstGeom>
          <a:noFill/>
          <a:ln w="6350" cap="flat" cmpd="sng" algn="ctr">
            <a:noFill/>
            <a:prstDash val="solid"/>
            <a:miter lim="800000"/>
          </a:ln>
          <a:effectLst/>
        </p:spPr>
      </p:cxnSp>
      <p:cxnSp>
        <p:nvCxnSpPr>
          <p:cNvPr id="419" name="Straight Connector 418"/>
          <p:cNvCxnSpPr/>
          <p:nvPr/>
        </p:nvCxnSpPr>
        <p:spPr>
          <a:xfrm>
            <a:off x="2912924" y="1740514"/>
            <a:ext cx="32" cy="263319"/>
          </a:xfrm>
          <a:prstGeom prst="line">
            <a:avLst/>
          </a:prstGeom>
          <a:noFill/>
          <a:ln w="6350" cap="flat" cmpd="sng" algn="ctr">
            <a:noFill/>
            <a:prstDash val="solid"/>
            <a:miter lim="800000"/>
          </a:ln>
          <a:effectLst/>
        </p:spPr>
      </p:cxnSp>
      <p:sp>
        <p:nvSpPr>
          <p:cNvPr id="420" name="Hexagon 419"/>
          <p:cNvSpPr/>
          <p:nvPr/>
        </p:nvSpPr>
        <p:spPr>
          <a:xfrm>
            <a:off x="3230619"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21" name="Hexagon 420"/>
          <p:cNvSpPr/>
          <p:nvPr/>
        </p:nvSpPr>
        <p:spPr>
          <a:xfrm>
            <a:off x="3457016"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22" name="Hexagon 421"/>
          <p:cNvSpPr/>
          <p:nvPr/>
        </p:nvSpPr>
        <p:spPr>
          <a:xfrm>
            <a:off x="3230619"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23" name="Hexagon 422"/>
          <p:cNvSpPr/>
          <p:nvPr/>
        </p:nvSpPr>
        <p:spPr>
          <a:xfrm>
            <a:off x="3457016"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24" name="Straight Connector 423"/>
          <p:cNvCxnSpPr/>
          <p:nvPr/>
        </p:nvCxnSpPr>
        <p:spPr>
          <a:xfrm>
            <a:off x="3365374" y="1982320"/>
            <a:ext cx="226397" cy="132971"/>
          </a:xfrm>
          <a:prstGeom prst="line">
            <a:avLst/>
          </a:prstGeom>
          <a:noFill/>
          <a:ln w="6350" cap="flat" cmpd="sng" algn="ctr">
            <a:noFill/>
            <a:prstDash val="solid"/>
            <a:miter lim="800000"/>
          </a:ln>
          <a:effectLst/>
        </p:spPr>
      </p:cxnSp>
      <p:cxnSp>
        <p:nvCxnSpPr>
          <p:cNvPr id="425" name="Straight Connector 424"/>
          <p:cNvCxnSpPr/>
          <p:nvPr/>
        </p:nvCxnSpPr>
        <p:spPr>
          <a:xfrm>
            <a:off x="3365374" y="1716378"/>
            <a:ext cx="226397" cy="132971"/>
          </a:xfrm>
          <a:prstGeom prst="line">
            <a:avLst/>
          </a:prstGeom>
          <a:noFill/>
          <a:ln w="6350" cap="flat" cmpd="sng" algn="ctr">
            <a:noFill/>
            <a:prstDash val="solid"/>
            <a:miter lim="800000"/>
          </a:ln>
          <a:effectLst/>
        </p:spPr>
      </p:cxnSp>
      <p:cxnSp>
        <p:nvCxnSpPr>
          <p:cNvPr id="426" name="Straight Connector 425"/>
          <p:cNvCxnSpPr/>
          <p:nvPr/>
        </p:nvCxnSpPr>
        <p:spPr>
          <a:xfrm>
            <a:off x="3588088" y="1843643"/>
            <a:ext cx="226397" cy="132971"/>
          </a:xfrm>
          <a:prstGeom prst="line">
            <a:avLst/>
          </a:prstGeom>
          <a:noFill/>
          <a:ln w="6350" cap="flat" cmpd="sng" algn="ctr">
            <a:noFill/>
            <a:prstDash val="solid"/>
            <a:miter lim="800000"/>
          </a:ln>
          <a:effectLst/>
        </p:spPr>
      </p:cxnSp>
      <p:cxnSp>
        <p:nvCxnSpPr>
          <p:cNvPr id="427" name="Straight Connector 426"/>
          <p:cNvCxnSpPr/>
          <p:nvPr/>
        </p:nvCxnSpPr>
        <p:spPr>
          <a:xfrm flipH="1">
            <a:off x="3588088" y="1982320"/>
            <a:ext cx="226397" cy="132971"/>
          </a:xfrm>
          <a:prstGeom prst="line">
            <a:avLst/>
          </a:prstGeom>
          <a:noFill/>
          <a:ln w="6350" cap="flat" cmpd="sng" algn="ctr">
            <a:noFill/>
            <a:prstDash val="solid"/>
            <a:miter lim="800000"/>
          </a:ln>
          <a:effectLst/>
        </p:spPr>
      </p:cxnSp>
      <p:cxnSp>
        <p:nvCxnSpPr>
          <p:cNvPr id="428" name="Straight Connector 427"/>
          <p:cNvCxnSpPr/>
          <p:nvPr/>
        </p:nvCxnSpPr>
        <p:spPr>
          <a:xfrm>
            <a:off x="3588090" y="1855055"/>
            <a:ext cx="32" cy="263319"/>
          </a:xfrm>
          <a:prstGeom prst="line">
            <a:avLst/>
          </a:prstGeom>
          <a:noFill/>
          <a:ln w="6350" cap="flat" cmpd="sng" algn="ctr">
            <a:noFill/>
            <a:prstDash val="solid"/>
            <a:miter lim="800000"/>
          </a:ln>
          <a:effectLst/>
        </p:spPr>
      </p:cxnSp>
      <p:cxnSp>
        <p:nvCxnSpPr>
          <p:cNvPr id="429" name="Straight Connector 428"/>
          <p:cNvCxnSpPr/>
          <p:nvPr/>
        </p:nvCxnSpPr>
        <p:spPr>
          <a:xfrm flipV="1">
            <a:off x="3361724" y="1849349"/>
            <a:ext cx="226364" cy="127265"/>
          </a:xfrm>
          <a:prstGeom prst="line">
            <a:avLst/>
          </a:prstGeom>
          <a:noFill/>
          <a:ln w="6350" cap="flat" cmpd="sng" algn="ctr">
            <a:noFill/>
            <a:prstDash val="solid"/>
            <a:miter lim="800000"/>
          </a:ln>
          <a:effectLst/>
        </p:spPr>
      </p:cxnSp>
      <p:cxnSp>
        <p:nvCxnSpPr>
          <p:cNvPr id="430" name="Straight Connector 429"/>
          <p:cNvCxnSpPr/>
          <p:nvPr/>
        </p:nvCxnSpPr>
        <p:spPr>
          <a:xfrm flipV="1">
            <a:off x="3588088" y="1710671"/>
            <a:ext cx="226397" cy="144383"/>
          </a:xfrm>
          <a:prstGeom prst="line">
            <a:avLst/>
          </a:prstGeom>
          <a:noFill/>
          <a:ln w="6350" cap="flat" cmpd="sng" algn="ctr">
            <a:noFill/>
            <a:prstDash val="solid"/>
            <a:miter lim="800000"/>
          </a:ln>
          <a:effectLst/>
        </p:spPr>
      </p:cxnSp>
      <p:cxnSp>
        <p:nvCxnSpPr>
          <p:cNvPr id="431" name="Straight Connector 430"/>
          <p:cNvCxnSpPr/>
          <p:nvPr/>
        </p:nvCxnSpPr>
        <p:spPr>
          <a:xfrm>
            <a:off x="3365358" y="1740514"/>
            <a:ext cx="32" cy="263319"/>
          </a:xfrm>
          <a:prstGeom prst="line">
            <a:avLst/>
          </a:prstGeom>
          <a:noFill/>
          <a:ln w="6350" cap="flat" cmpd="sng" algn="ctr">
            <a:noFill/>
            <a:prstDash val="solid"/>
            <a:miter lim="800000"/>
          </a:ln>
          <a:effectLst/>
        </p:spPr>
      </p:cxnSp>
      <p:sp>
        <p:nvSpPr>
          <p:cNvPr id="432" name="Hexagon 431"/>
          <p:cNvSpPr/>
          <p:nvPr/>
        </p:nvSpPr>
        <p:spPr>
          <a:xfrm>
            <a:off x="3684690" y="159928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33" name="Hexagon 432"/>
          <p:cNvSpPr/>
          <p:nvPr/>
        </p:nvSpPr>
        <p:spPr>
          <a:xfrm>
            <a:off x="3911087" y="172779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34" name="Hexagon 433"/>
          <p:cNvSpPr/>
          <p:nvPr/>
        </p:nvSpPr>
        <p:spPr>
          <a:xfrm>
            <a:off x="3684690" y="186076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35" name="Hexagon 434"/>
          <p:cNvSpPr/>
          <p:nvPr/>
        </p:nvSpPr>
        <p:spPr>
          <a:xfrm>
            <a:off x="3911087" y="1989274"/>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36" name="Straight Connector 435"/>
          <p:cNvCxnSpPr/>
          <p:nvPr/>
        </p:nvCxnSpPr>
        <p:spPr>
          <a:xfrm>
            <a:off x="3819445" y="1982320"/>
            <a:ext cx="226397" cy="132971"/>
          </a:xfrm>
          <a:prstGeom prst="line">
            <a:avLst/>
          </a:prstGeom>
          <a:noFill/>
          <a:ln w="6350" cap="flat" cmpd="sng" algn="ctr">
            <a:noFill/>
            <a:prstDash val="solid"/>
            <a:miter lim="800000"/>
          </a:ln>
          <a:effectLst/>
        </p:spPr>
      </p:cxnSp>
      <p:cxnSp>
        <p:nvCxnSpPr>
          <p:cNvPr id="437" name="Straight Connector 436"/>
          <p:cNvCxnSpPr/>
          <p:nvPr/>
        </p:nvCxnSpPr>
        <p:spPr>
          <a:xfrm>
            <a:off x="3819445" y="1716378"/>
            <a:ext cx="226397" cy="132971"/>
          </a:xfrm>
          <a:prstGeom prst="line">
            <a:avLst/>
          </a:prstGeom>
          <a:noFill/>
          <a:ln w="6350" cap="flat" cmpd="sng" algn="ctr">
            <a:noFill/>
            <a:prstDash val="solid"/>
            <a:miter lim="800000"/>
          </a:ln>
          <a:effectLst/>
        </p:spPr>
      </p:cxnSp>
      <p:cxnSp>
        <p:nvCxnSpPr>
          <p:cNvPr id="438" name="Straight Connector 437"/>
          <p:cNvCxnSpPr/>
          <p:nvPr/>
        </p:nvCxnSpPr>
        <p:spPr>
          <a:xfrm>
            <a:off x="4032635" y="1848869"/>
            <a:ext cx="226397" cy="132971"/>
          </a:xfrm>
          <a:prstGeom prst="line">
            <a:avLst/>
          </a:prstGeom>
          <a:noFill/>
          <a:ln w="6350" cap="flat" cmpd="sng" algn="ctr">
            <a:noFill/>
            <a:prstDash val="solid"/>
            <a:miter lim="800000"/>
          </a:ln>
          <a:effectLst/>
        </p:spPr>
      </p:cxnSp>
      <p:cxnSp>
        <p:nvCxnSpPr>
          <p:cNvPr id="439" name="Straight Connector 438"/>
          <p:cNvCxnSpPr/>
          <p:nvPr/>
        </p:nvCxnSpPr>
        <p:spPr>
          <a:xfrm flipH="1">
            <a:off x="4032635" y="1987546"/>
            <a:ext cx="226397" cy="132971"/>
          </a:xfrm>
          <a:prstGeom prst="line">
            <a:avLst/>
          </a:prstGeom>
          <a:noFill/>
          <a:ln w="6350" cap="flat" cmpd="sng" algn="ctr">
            <a:noFill/>
            <a:prstDash val="solid"/>
            <a:miter lim="800000"/>
          </a:ln>
          <a:effectLst/>
        </p:spPr>
      </p:cxnSp>
      <p:cxnSp>
        <p:nvCxnSpPr>
          <p:cNvPr id="440" name="Straight Connector 439"/>
          <p:cNvCxnSpPr/>
          <p:nvPr/>
        </p:nvCxnSpPr>
        <p:spPr>
          <a:xfrm>
            <a:off x="4043636" y="1860282"/>
            <a:ext cx="32" cy="263319"/>
          </a:xfrm>
          <a:prstGeom prst="line">
            <a:avLst/>
          </a:prstGeom>
          <a:noFill/>
          <a:ln w="6350" cap="flat" cmpd="sng" algn="ctr">
            <a:noFill/>
            <a:prstDash val="solid"/>
            <a:miter lim="800000"/>
          </a:ln>
          <a:effectLst/>
        </p:spPr>
      </p:cxnSp>
      <p:cxnSp>
        <p:nvCxnSpPr>
          <p:cNvPr id="441" name="Straight Connector 440"/>
          <p:cNvCxnSpPr/>
          <p:nvPr/>
        </p:nvCxnSpPr>
        <p:spPr>
          <a:xfrm flipV="1">
            <a:off x="3815795" y="1849349"/>
            <a:ext cx="226364" cy="127265"/>
          </a:xfrm>
          <a:prstGeom prst="line">
            <a:avLst/>
          </a:prstGeom>
          <a:noFill/>
          <a:ln w="6350" cap="flat" cmpd="sng" algn="ctr">
            <a:noFill/>
            <a:prstDash val="solid"/>
            <a:miter lim="800000"/>
          </a:ln>
          <a:effectLst/>
        </p:spPr>
      </p:cxnSp>
      <p:cxnSp>
        <p:nvCxnSpPr>
          <p:cNvPr id="442" name="Straight Connector 441"/>
          <p:cNvCxnSpPr/>
          <p:nvPr/>
        </p:nvCxnSpPr>
        <p:spPr>
          <a:xfrm flipV="1">
            <a:off x="4032635" y="1715897"/>
            <a:ext cx="226397" cy="144383"/>
          </a:xfrm>
          <a:prstGeom prst="line">
            <a:avLst/>
          </a:prstGeom>
          <a:noFill/>
          <a:ln w="6350" cap="flat" cmpd="sng" algn="ctr">
            <a:noFill/>
            <a:prstDash val="solid"/>
            <a:miter lim="800000"/>
          </a:ln>
          <a:effectLst/>
        </p:spPr>
      </p:cxnSp>
      <p:cxnSp>
        <p:nvCxnSpPr>
          <p:cNvPr id="443" name="Straight Connector 442"/>
          <p:cNvCxnSpPr/>
          <p:nvPr/>
        </p:nvCxnSpPr>
        <p:spPr>
          <a:xfrm>
            <a:off x="3819429" y="1740514"/>
            <a:ext cx="32" cy="263319"/>
          </a:xfrm>
          <a:prstGeom prst="line">
            <a:avLst/>
          </a:prstGeom>
          <a:noFill/>
          <a:ln w="6350" cap="flat" cmpd="sng" algn="ctr">
            <a:noFill/>
            <a:prstDash val="solid"/>
            <a:miter lim="800000"/>
          </a:ln>
          <a:effectLst/>
        </p:spPr>
      </p:cxnSp>
      <p:sp>
        <p:nvSpPr>
          <p:cNvPr id="444" name="Hexagon 443"/>
          <p:cNvSpPr/>
          <p:nvPr/>
        </p:nvSpPr>
        <p:spPr>
          <a:xfrm>
            <a:off x="4137469"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45" name="Hexagon 444"/>
          <p:cNvSpPr/>
          <p:nvPr/>
        </p:nvSpPr>
        <p:spPr>
          <a:xfrm>
            <a:off x="4363866"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46" name="Hexagon 445"/>
          <p:cNvSpPr/>
          <p:nvPr/>
        </p:nvSpPr>
        <p:spPr>
          <a:xfrm>
            <a:off x="4137469"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47" name="Hexagon 446"/>
          <p:cNvSpPr/>
          <p:nvPr/>
        </p:nvSpPr>
        <p:spPr>
          <a:xfrm>
            <a:off x="4363866" y="199502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48" name="Straight Connector 447"/>
          <p:cNvCxnSpPr/>
          <p:nvPr/>
        </p:nvCxnSpPr>
        <p:spPr>
          <a:xfrm>
            <a:off x="4272224" y="1983615"/>
            <a:ext cx="226397" cy="132971"/>
          </a:xfrm>
          <a:prstGeom prst="line">
            <a:avLst/>
          </a:prstGeom>
          <a:noFill/>
          <a:ln w="6350" cap="flat" cmpd="sng" algn="ctr">
            <a:noFill/>
            <a:prstDash val="solid"/>
            <a:miter lim="800000"/>
          </a:ln>
          <a:effectLst/>
        </p:spPr>
      </p:cxnSp>
      <p:cxnSp>
        <p:nvCxnSpPr>
          <p:cNvPr id="449" name="Straight Connector 448"/>
          <p:cNvCxnSpPr/>
          <p:nvPr/>
        </p:nvCxnSpPr>
        <p:spPr>
          <a:xfrm>
            <a:off x="4272224" y="1717673"/>
            <a:ext cx="226397" cy="132971"/>
          </a:xfrm>
          <a:prstGeom prst="line">
            <a:avLst/>
          </a:prstGeom>
          <a:noFill/>
          <a:ln w="6350" cap="flat" cmpd="sng" algn="ctr">
            <a:noFill/>
            <a:prstDash val="solid"/>
            <a:miter lim="800000"/>
          </a:ln>
          <a:effectLst/>
        </p:spPr>
      </p:cxnSp>
      <p:cxnSp>
        <p:nvCxnSpPr>
          <p:cNvPr id="450" name="Straight Connector 449"/>
          <p:cNvCxnSpPr/>
          <p:nvPr/>
        </p:nvCxnSpPr>
        <p:spPr>
          <a:xfrm>
            <a:off x="4494938" y="1844938"/>
            <a:ext cx="226397" cy="132971"/>
          </a:xfrm>
          <a:prstGeom prst="line">
            <a:avLst/>
          </a:prstGeom>
          <a:noFill/>
          <a:ln w="6350" cap="flat" cmpd="sng" algn="ctr">
            <a:noFill/>
            <a:prstDash val="solid"/>
            <a:miter lim="800000"/>
          </a:ln>
          <a:effectLst/>
        </p:spPr>
      </p:cxnSp>
      <p:cxnSp>
        <p:nvCxnSpPr>
          <p:cNvPr id="451" name="Straight Connector 450"/>
          <p:cNvCxnSpPr/>
          <p:nvPr/>
        </p:nvCxnSpPr>
        <p:spPr>
          <a:xfrm flipH="1">
            <a:off x="4494938" y="1983615"/>
            <a:ext cx="226397" cy="132971"/>
          </a:xfrm>
          <a:prstGeom prst="line">
            <a:avLst/>
          </a:prstGeom>
          <a:noFill/>
          <a:ln w="6350" cap="flat" cmpd="sng" algn="ctr">
            <a:noFill/>
            <a:prstDash val="solid"/>
            <a:miter lim="800000"/>
          </a:ln>
          <a:effectLst/>
        </p:spPr>
      </p:cxnSp>
      <p:cxnSp>
        <p:nvCxnSpPr>
          <p:cNvPr id="452" name="Straight Connector 451"/>
          <p:cNvCxnSpPr/>
          <p:nvPr/>
        </p:nvCxnSpPr>
        <p:spPr>
          <a:xfrm>
            <a:off x="4494939" y="1856350"/>
            <a:ext cx="32" cy="263319"/>
          </a:xfrm>
          <a:prstGeom prst="line">
            <a:avLst/>
          </a:prstGeom>
          <a:noFill/>
          <a:ln w="6350" cap="flat" cmpd="sng" algn="ctr">
            <a:noFill/>
            <a:prstDash val="solid"/>
            <a:miter lim="800000"/>
          </a:ln>
          <a:effectLst/>
        </p:spPr>
      </p:cxnSp>
      <p:cxnSp>
        <p:nvCxnSpPr>
          <p:cNvPr id="453" name="Straight Connector 452"/>
          <p:cNvCxnSpPr/>
          <p:nvPr/>
        </p:nvCxnSpPr>
        <p:spPr>
          <a:xfrm flipV="1">
            <a:off x="4268574" y="1850644"/>
            <a:ext cx="226364" cy="127265"/>
          </a:xfrm>
          <a:prstGeom prst="line">
            <a:avLst/>
          </a:prstGeom>
          <a:noFill/>
          <a:ln w="6350" cap="flat" cmpd="sng" algn="ctr">
            <a:noFill/>
            <a:prstDash val="solid"/>
            <a:miter lim="800000"/>
          </a:ln>
          <a:effectLst/>
        </p:spPr>
      </p:cxnSp>
      <p:cxnSp>
        <p:nvCxnSpPr>
          <p:cNvPr id="454" name="Straight Connector 453"/>
          <p:cNvCxnSpPr/>
          <p:nvPr/>
        </p:nvCxnSpPr>
        <p:spPr>
          <a:xfrm flipV="1">
            <a:off x="4494938" y="1711966"/>
            <a:ext cx="226397" cy="144383"/>
          </a:xfrm>
          <a:prstGeom prst="line">
            <a:avLst/>
          </a:prstGeom>
          <a:noFill/>
          <a:ln w="6350" cap="flat" cmpd="sng" algn="ctr">
            <a:noFill/>
            <a:prstDash val="solid"/>
            <a:miter lim="800000"/>
          </a:ln>
          <a:effectLst/>
        </p:spPr>
      </p:cxnSp>
      <p:cxnSp>
        <p:nvCxnSpPr>
          <p:cNvPr id="455" name="Straight Connector 454"/>
          <p:cNvCxnSpPr/>
          <p:nvPr/>
        </p:nvCxnSpPr>
        <p:spPr>
          <a:xfrm>
            <a:off x="4272208" y="1741809"/>
            <a:ext cx="32" cy="263319"/>
          </a:xfrm>
          <a:prstGeom prst="line">
            <a:avLst/>
          </a:prstGeom>
          <a:noFill/>
          <a:ln w="6350" cap="flat" cmpd="sng" algn="ctr">
            <a:noFill/>
            <a:prstDash val="solid"/>
            <a:miter lim="800000"/>
          </a:ln>
          <a:effectLst/>
        </p:spPr>
      </p:cxnSp>
      <p:sp>
        <p:nvSpPr>
          <p:cNvPr id="456" name="Hexagon 455"/>
          <p:cNvSpPr/>
          <p:nvPr/>
        </p:nvSpPr>
        <p:spPr>
          <a:xfrm>
            <a:off x="4587465"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57" name="Hexagon 456"/>
          <p:cNvSpPr/>
          <p:nvPr/>
        </p:nvSpPr>
        <p:spPr>
          <a:xfrm>
            <a:off x="4813862"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58" name="Hexagon 457"/>
          <p:cNvSpPr/>
          <p:nvPr/>
        </p:nvSpPr>
        <p:spPr>
          <a:xfrm>
            <a:off x="4587465"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59" name="Hexagon 458"/>
          <p:cNvSpPr/>
          <p:nvPr/>
        </p:nvSpPr>
        <p:spPr>
          <a:xfrm>
            <a:off x="4813862" y="199502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60" name="Straight Connector 459"/>
          <p:cNvCxnSpPr/>
          <p:nvPr/>
        </p:nvCxnSpPr>
        <p:spPr>
          <a:xfrm>
            <a:off x="4722221" y="1983615"/>
            <a:ext cx="226397" cy="132971"/>
          </a:xfrm>
          <a:prstGeom prst="line">
            <a:avLst/>
          </a:prstGeom>
          <a:noFill/>
          <a:ln w="6350" cap="flat" cmpd="sng" algn="ctr">
            <a:noFill/>
            <a:prstDash val="solid"/>
            <a:miter lim="800000"/>
          </a:ln>
          <a:effectLst/>
        </p:spPr>
      </p:cxnSp>
      <p:cxnSp>
        <p:nvCxnSpPr>
          <p:cNvPr id="461" name="Straight Connector 460"/>
          <p:cNvCxnSpPr/>
          <p:nvPr/>
        </p:nvCxnSpPr>
        <p:spPr>
          <a:xfrm>
            <a:off x="4722221" y="1717673"/>
            <a:ext cx="226397" cy="132971"/>
          </a:xfrm>
          <a:prstGeom prst="line">
            <a:avLst/>
          </a:prstGeom>
          <a:noFill/>
          <a:ln w="6350" cap="flat" cmpd="sng" algn="ctr">
            <a:noFill/>
            <a:prstDash val="solid"/>
            <a:miter lim="800000"/>
          </a:ln>
          <a:effectLst/>
        </p:spPr>
      </p:cxnSp>
      <p:cxnSp>
        <p:nvCxnSpPr>
          <p:cNvPr id="462" name="Straight Connector 461"/>
          <p:cNvCxnSpPr/>
          <p:nvPr/>
        </p:nvCxnSpPr>
        <p:spPr>
          <a:xfrm>
            <a:off x="4944935" y="1844938"/>
            <a:ext cx="226397" cy="132971"/>
          </a:xfrm>
          <a:prstGeom prst="line">
            <a:avLst/>
          </a:prstGeom>
          <a:noFill/>
          <a:ln w="6350" cap="flat" cmpd="sng" algn="ctr">
            <a:noFill/>
            <a:prstDash val="solid"/>
            <a:miter lim="800000"/>
          </a:ln>
          <a:effectLst/>
        </p:spPr>
      </p:cxnSp>
      <p:cxnSp>
        <p:nvCxnSpPr>
          <p:cNvPr id="463" name="Straight Connector 462"/>
          <p:cNvCxnSpPr/>
          <p:nvPr/>
        </p:nvCxnSpPr>
        <p:spPr>
          <a:xfrm flipH="1">
            <a:off x="4944935" y="1983615"/>
            <a:ext cx="226397" cy="132971"/>
          </a:xfrm>
          <a:prstGeom prst="line">
            <a:avLst/>
          </a:prstGeom>
          <a:noFill/>
          <a:ln w="6350" cap="flat" cmpd="sng" algn="ctr">
            <a:noFill/>
            <a:prstDash val="solid"/>
            <a:miter lim="800000"/>
          </a:ln>
          <a:effectLst/>
        </p:spPr>
      </p:cxnSp>
      <p:cxnSp>
        <p:nvCxnSpPr>
          <p:cNvPr id="464" name="Straight Connector 463"/>
          <p:cNvCxnSpPr/>
          <p:nvPr/>
        </p:nvCxnSpPr>
        <p:spPr>
          <a:xfrm>
            <a:off x="4944936" y="1856350"/>
            <a:ext cx="32" cy="263319"/>
          </a:xfrm>
          <a:prstGeom prst="line">
            <a:avLst/>
          </a:prstGeom>
          <a:noFill/>
          <a:ln w="6350" cap="flat" cmpd="sng" algn="ctr">
            <a:noFill/>
            <a:prstDash val="solid"/>
            <a:miter lim="800000"/>
          </a:ln>
          <a:effectLst/>
        </p:spPr>
      </p:cxnSp>
      <p:cxnSp>
        <p:nvCxnSpPr>
          <p:cNvPr id="465" name="Straight Connector 464"/>
          <p:cNvCxnSpPr/>
          <p:nvPr/>
        </p:nvCxnSpPr>
        <p:spPr>
          <a:xfrm flipV="1">
            <a:off x="4718571" y="1850644"/>
            <a:ext cx="226364" cy="127265"/>
          </a:xfrm>
          <a:prstGeom prst="line">
            <a:avLst/>
          </a:prstGeom>
          <a:noFill/>
          <a:ln w="6350" cap="flat" cmpd="sng" algn="ctr">
            <a:noFill/>
            <a:prstDash val="solid"/>
            <a:miter lim="800000"/>
          </a:ln>
          <a:effectLst/>
        </p:spPr>
      </p:cxnSp>
      <p:cxnSp>
        <p:nvCxnSpPr>
          <p:cNvPr id="466" name="Straight Connector 465"/>
          <p:cNvCxnSpPr/>
          <p:nvPr/>
        </p:nvCxnSpPr>
        <p:spPr>
          <a:xfrm flipV="1">
            <a:off x="4944935" y="1711966"/>
            <a:ext cx="226397" cy="144383"/>
          </a:xfrm>
          <a:prstGeom prst="line">
            <a:avLst/>
          </a:prstGeom>
          <a:noFill/>
          <a:ln w="6350" cap="flat" cmpd="sng" algn="ctr">
            <a:noFill/>
            <a:prstDash val="solid"/>
            <a:miter lim="800000"/>
          </a:ln>
          <a:effectLst/>
        </p:spPr>
      </p:cxnSp>
      <p:cxnSp>
        <p:nvCxnSpPr>
          <p:cNvPr id="467" name="Straight Connector 466"/>
          <p:cNvCxnSpPr/>
          <p:nvPr/>
        </p:nvCxnSpPr>
        <p:spPr>
          <a:xfrm>
            <a:off x="4722204" y="1741809"/>
            <a:ext cx="32" cy="263319"/>
          </a:xfrm>
          <a:prstGeom prst="line">
            <a:avLst/>
          </a:prstGeom>
          <a:noFill/>
          <a:ln w="6350" cap="flat" cmpd="sng" algn="ctr">
            <a:noFill/>
            <a:prstDash val="solid"/>
            <a:miter lim="800000"/>
          </a:ln>
          <a:effectLst/>
        </p:spPr>
      </p:cxnSp>
      <p:sp>
        <p:nvSpPr>
          <p:cNvPr id="468" name="Hexagon 467"/>
          <p:cNvSpPr/>
          <p:nvPr/>
        </p:nvSpPr>
        <p:spPr>
          <a:xfrm>
            <a:off x="5039899"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69" name="Hexagon 468"/>
          <p:cNvSpPr/>
          <p:nvPr/>
        </p:nvSpPr>
        <p:spPr>
          <a:xfrm>
            <a:off x="5266296"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70" name="Hexagon 469"/>
          <p:cNvSpPr/>
          <p:nvPr/>
        </p:nvSpPr>
        <p:spPr>
          <a:xfrm>
            <a:off x="5039899"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71" name="Hexagon 470"/>
          <p:cNvSpPr/>
          <p:nvPr/>
        </p:nvSpPr>
        <p:spPr>
          <a:xfrm>
            <a:off x="5266296"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72" name="Straight Connector 471"/>
          <p:cNvCxnSpPr/>
          <p:nvPr/>
        </p:nvCxnSpPr>
        <p:spPr>
          <a:xfrm>
            <a:off x="5174655" y="1983615"/>
            <a:ext cx="226397" cy="132971"/>
          </a:xfrm>
          <a:prstGeom prst="line">
            <a:avLst/>
          </a:prstGeom>
          <a:noFill/>
          <a:ln w="6350" cap="flat" cmpd="sng" algn="ctr">
            <a:noFill/>
            <a:prstDash val="solid"/>
            <a:miter lim="800000"/>
          </a:ln>
          <a:effectLst/>
        </p:spPr>
      </p:cxnSp>
      <p:cxnSp>
        <p:nvCxnSpPr>
          <p:cNvPr id="473" name="Straight Connector 472"/>
          <p:cNvCxnSpPr/>
          <p:nvPr/>
        </p:nvCxnSpPr>
        <p:spPr>
          <a:xfrm>
            <a:off x="5174655" y="1717673"/>
            <a:ext cx="226397" cy="132971"/>
          </a:xfrm>
          <a:prstGeom prst="line">
            <a:avLst/>
          </a:prstGeom>
          <a:noFill/>
          <a:ln w="6350" cap="flat" cmpd="sng" algn="ctr">
            <a:noFill/>
            <a:prstDash val="solid"/>
            <a:miter lim="800000"/>
          </a:ln>
          <a:effectLst/>
        </p:spPr>
      </p:cxnSp>
      <p:cxnSp>
        <p:nvCxnSpPr>
          <p:cNvPr id="474" name="Straight Connector 473"/>
          <p:cNvCxnSpPr/>
          <p:nvPr/>
        </p:nvCxnSpPr>
        <p:spPr>
          <a:xfrm>
            <a:off x="5393294" y="1844938"/>
            <a:ext cx="226397" cy="132971"/>
          </a:xfrm>
          <a:prstGeom prst="line">
            <a:avLst/>
          </a:prstGeom>
          <a:noFill/>
          <a:ln w="6350" cap="flat" cmpd="sng" algn="ctr">
            <a:noFill/>
            <a:prstDash val="solid"/>
            <a:miter lim="800000"/>
          </a:ln>
          <a:effectLst/>
        </p:spPr>
      </p:cxnSp>
      <p:cxnSp>
        <p:nvCxnSpPr>
          <p:cNvPr id="475" name="Straight Connector 474"/>
          <p:cNvCxnSpPr/>
          <p:nvPr/>
        </p:nvCxnSpPr>
        <p:spPr>
          <a:xfrm flipH="1">
            <a:off x="5393294" y="1983615"/>
            <a:ext cx="226397" cy="132971"/>
          </a:xfrm>
          <a:prstGeom prst="line">
            <a:avLst/>
          </a:prstGeom>
          <a:noFill/>
          <a:ln w="6350" cap="flat" cmpd="sng" algn="ctr">
            <a:noFill/>
            <a:prstDash val="solid"/>
            <a:miter lim="800000"/>
          </a:ln>
          <a:effectLst/>
        </p:spPr>
      </p:cxnSp>
      <p:cxnSp>
        <p:nvCxnSpPr>
          <p:cNvPr id="476" name="Straight Connector 475"/>
          <p:cNvCxnSpPr/>
          <p:nvPr/>
        </p:nvCxnSpPr>
        <p:spPr>
          <a:xfrm>
            <a:off x="5397370" y="1856350"/>
            <a:ext cx="32" cy="263319"/>
          </a:xfrm>
          <a:prstGeom prst="line">
            <a:avLst/>
          </a:prstGeom>
          <a:noFill/>
          <a:ln w="6350" cap="flat" cmpd="sng" algn="ctr">
            <a:noFill/>
            <a:prstDash val="solid"/>
            <a:miter lim="800000"/>
          </a:ln>
          <a:effectLst/>
        </p:spPr>
      </p:cxnSp>
      <p:cxnSp>
        <p:nvCxnSpPr>
          <p:cNvPr id="477" name="Straight Connector 476"/>
          <p:cNvCxnSpPr/>
          <p:nvPr/>
        </p:nvCxnSpPr>
        <p:spPr>
          <a:xfrm flipV="1">
            <a:off x="5171005" y="1850644"/>
            <a:ext cx="226364" cy="127265"/>
          </a:xfrm>
          <a:prstGeom prst="line">
            <a:avLst/>
          </a:prstGeom>
          <a:noFill/>
          <a:ln w="6350" cap="flat" cmpd="sng" algn="ctr">
            <a:noFill/>
            <a:prstDash val="solid"/>
            <a:miter lim="800000"/>
          </a:ln>
          <a:effectLst/>
        </p:spPr>
      </p:cxnSp>
      <p:cxnSp>
        <p:nvCxnSpPr>
          <p:cNvPr id="478" name="Straight Connector 477"/>
          <p:cNvCxnSpPr/>
          <p:nvPr/>
        </p:nvCxnSpPr>
        <p:spPr>
          <a:xfrm flipV="1">
            <a:off x="5393294" y="1711966"/>
            <a:ext cx="226397" cy="144383"/>
          </a:xfrm>
          <a:prstGeom prst="line">
            <a:avLst/>
          </a:prstGeom>
          <a:noFill/>
          <a:ln w="6350" cap="flat" cmpd="sng" algn="ctr">
            <a:noFill/>
            <a:prstDash val="solid"/>
            <a:miter lim="800000"/>
          </a:ln>
          <a:effectLst/>
        </p:spPr>
      </p:cxnSp>
      <p:cxnSp>
        <p:nvCxnSpPr>
          <p:cNvPr id="479" name="Straight Connector 478"/>
          <p:cNvCxnSpPr/>
          <p:nvPr/>
        </p:nvCxnSpPr>
        <p:spPr>
          <a:xfrm>
            <a:off x="5174638" y="1741809"/>
            <a:ext cx="32" cy="263319"/>
          </a:xfrm>
          <a:prstGeom prst="line">
            <a:avLst/>
          </a:prstGeom>
          <a:noFill/>
          <a:ln w="6350" cap="flat" cmpd="sng" algn="ctr">
            <a:noFill/>
            <a:prstDash val="solid"/>
            <a:miter lim="800000"/>
          </a:ln>
          <a:effectLst/>
        </p:spPr>
      </p:cxnSp>
      <p:sp>
        <p:nvSpPr>
          <p:cNvPr id="480" name="Hexagon 479"/>
          <p:cNvSpPr/>
          <p:nvPr/>
        </p:nvSpPr>
        <p:spPr>
          <a:xfrm>
            <a:off x="5490370" y="159611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81" name="Hexagon 480"/>
          <p:cNvSpPr/>
          <p:nvPr/>
        </p:nvSpPr>
        <p:spPr>
          <a:xfrm>
            <a:off x="5716767"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82" name="Hexagon 481"/>
          <p:cNvSpPr/>
          <p:nvPr/>
        </p:nvSpPr>
        <p:spPr>
          <a:xfrm>
            <a:off x="5490370"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83" name="Hexagon 482"/>
          <p:cNvSpPr/>
          <p:nvPr/>
        </p:nvSpPr>
        <p:spPr>
          <a:xfrm>
            <a:off x="5716767"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84" name="Straight Connector 483"/>
          <p:cNvCxnSpPr/>
          <p:nvPr/>
        </p:nvCxnSpPr>
        <p:spPr>
          <a:xfrm>
            <a:off x="5625126" y="1983615"/>
            <a:ext cx="226397" cy="132971"/>
          </a:xfrm>
          <a:prstGeom prst="line">
            <a:avLst/>
          </a:prstGeom>
          <a:noFill/>
          <a:ln w="6350" cap="flat" cmpd="sng" algn="ctr">
            <a:noFill/>
            <a:prstDash val="solid"/>
            <a:miter lim="800000"/>
          </a:ln>
          <a:effectLst/>
        </p:spPr>
      </p:cxnSp>
      <p:cxnSp>
        <p:nvCxnSpPr>
          <p:cNvPr id="485" name="Straight Connector 484"/>
          <p:cNvCxnSpPr/>
          <p:nvPr/>
        </p:nvCxnSpPr>
        <p:spPr>
          <a:xfrm>
            <a:off x="5625126" y="1717673"/>
            <a:ext cx="226397" cy="132971"/>
          </a:xfrm>
          <a:prstGeom prst="line">
            <a:avLst/>
          </a:prstGeom>
          <a:noFill/>
          <a:ln w="6350" cap="flat" cmpd="sng" algn="ctr">
            <a:noFill/>
            <a:prstDash val="solid"/>
            <a:miter lim="800000"/>
          </a:ln>
          <a:effectLst/>
        </p:spPr>
      </p:cxnSp>
      <p:cxnSp>
        <p:nvCxnSpPr>
          <p:cNvPr id="486" name="Straight Connector 485"/>
          <p:cNvCxnSpPr/>
          <p:nvPr/>
        </p:nvCxnSpPr>
        <p:spPr>
          <a:xfrm>
            <a:off x="5847840" y="1844938"/>
            <a:ext cx="226397" cy="132971"/>
          </a:xfrm>
          <a:prstGeom prst="line">
            <a:avLst/>
          </a:prstGeom>
          <a:noFill/>
          <a:ln w="6350" cap="flat" cmpd="sng" algn="ctr">
            <a:noFill/>
            <a:prstDash val="solid"/>
            <a:miter lim="800000"/>
          </a:ln>
          <a:effectLst/>
        </p:spPr>
      </p:cxnSp>
      <p:cxnSp>
        <p:nvCxnSpPr>
          <p:cNvPr id="487" name="Straight Connector 486"/>
          <p:cNvCxnSpPr/>
          <p:nvPr/>
        </p:nvCxnSpPr>
        <p:spPr>
          <a:xfrm flipH="1">
            <a:off x="5847840" y="1983615"/>
            <a:ext cx="226397" cy="132971"/>
          </a:xfrm>
          <a:prstGeom prst="line">
            <a:avLst/>
          </a:prstGeom>
          <a:noFill/>
          <a:ln w="6350" cap="flat" cmpd="sng" algn="ctr">
            <a:noFill/>
            <a:prstDash val="solid"/>
            <a:miter lim="800000"/>
          </a:ln>
          <a:effectLst/>
        </p:spPr>
      </p:cxnSp>
      <p:cxnSp>
        <p:nvCxnSpPr>
          <p:cNvPr id="488" name="Straight Connector 487"/>
          <p:cNvCxnSpPr/>
          <p:nvPr/>
        </p:nvCxnSpPr>
        <p:spPr>
          <a:xfrm>
            <a:off x="5847841" y="1856350"/>
            <a:ext cx="32" cy="263319"/>
          </a:xfrm>
          <a:prstGeom prst="line">
            <a:avLst/>
          </a:prstGeom>
          <a:noFill/>
          <a:ln w="6350" cap="flat" cmpd="sng" algn="ctr">
            <a:noFill/>
            <a:prstDash val="solid"/>
            <a:miter lim="800000"/>
          </a:ln>
          <a:effectLst/>
        </p:spPr>
      </p:cxnSp>
      <p:cxnSp>
        <p:nvCxnSpPr>
          <p:cNvPr id="489" name="Straight Connector 488"/>
          <p:cNvCxnSpPr/>
          <p:nvPr/>
        </p:nvCxnSpPr>
        <p:spPr>
          <a:xfrm flipV="1">
            <a:off x="5621476" y="1850644"/>
            <a:ext cx="226364" cy="127265"/>
          </a:xfrm>
          <a:prstGeom prst="line">
            <a:avLst/>
          </a:prstGeom>
          <a:noFill/>
          <a:ln w="6350" cap="flat" cmpd="sng" algn="ctr">
            <a:noFill/>
            <a:prstDash val="solid"/>
            <a:miter lim="800000"/>
          </a:ln>
          <a:effectLst/>
        </p:spPr>
      </p:cxnSp>
      <p:cxnSp>
        <p:nvCxnSpPr>
          <p:cNvPr id="490" name="Straight Connector 489"/>
          <p:cNvCxnSpPr/>
          <p:nvPr/>
        </p:nvCxnSpPr>
        <p:spPr>
          <a:xfrm flipV="1">
            <a:off x="5847840" y="1711966"/>
            <a:ext cx="226397" cy="144383"/>
          </a:xfrm>
          <a:prstGeom prst="line">
            <a:avLst/>
          </a:prstGeom>
          <a:noFill/>
          <a:ln w="6350" cap="flat" cmpd="sng" algn="ctr">
            <a:noFill/>
            <a:prstDash val="solid"/>
            <a:miter lim="800000"/>
          </a:ln>
          <a:effectLst/>
        </p:spPr>
      </p:cxnSp>
      <p:cxnSp>
        <p:nvCxnSpPr>
          <p:cNvPr id="491" name="Straight Connector 490"/>
          <p:cNvCxnSpPr/>
          <p:nvPr/>
        </p:nvCxnSpPr>
        <p:spPr>
          <a:xfrm>
            <a:off x="5625109" y="1741809"/>
            <a:ext cx="32" cy="263319"/>
          </a:xfrm>
          <a:prstGeom prst="line">
            <a:avLst/>
          </a:prstGeom>
          <a:noFill/>
          <a:ln w="6350" cap="flat" cmpd="sng" algn="ctr">
            <a:noFill/>
            <a:prstDash val="solid"/>
            <a:miter lim="800000"/>
          </a:ln>
          <a:effectLst/>
        </p:spPr>
      </p:cxnSp>
      <p:sp>
        <p:nvSpPr>
          <p:cNvPr id="492" name="Hexagon 491"/>
          <p:cNvSpPr/>
          <p:nvPr/>
        </p:nvSpPr>
        <p:spPr>
          <a:xfrm>
            <a:off x="5940367"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93" name="Hexagon 492"/>
          <p:cNvSpPr/>
          <p:nvPr/>
        </p:nvSpPr>
        <p:spPr>
          <a:xfrm>
            <a:off x="6166764"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94" name="Hexagon 493"/>
          <p:cNvSpPr/>
          <p:nvPr/>
        </p:nvSpPr>
        <p:spPr>
          <a:xfrm>
            <a:off x="5940367"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495" name="Hexagon 494"/>
          <p:cNvSpPr/>
          <p:nvPr/>
        </p:nvSpPr>
        <p:spPr>
          <a:xfrm>
            <a:off x="6166764"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496" name="Straight Connector 495"/>
          <p:cNvCxnSpPr/>
          <p:nvPr/>
        </p:nvCxnSpPr>
        <p:spPr>
          <a:xfrm>
            <a:off x="6075122" y="1983615"/>
            <a:ext cx="226397" cy="132971"/>
          </a:xfrm>
          <a:prstGeom prst="line">
            <a:avLst/>
          </a:prstGeom>
          <a:noFill/>
          <a:ln w="6350" cap="flat" cmpd="sng" algn="ctr">
            <a:noFill/>
            <a:prstDash val="solid"/>
            <a:miter lim="800000"/>
          </a:ln>
          <a:effectLst/>
        </p:spPr>
      </p:cxnSp>
      <p:cxnSp>
        <p:nvCxnSpPr>
          <p:cNvPr id="497" name="Straight Connector 496"/>
          <p:cNvCxnSpPr/>
          <p:nvPr/>
        </p:nvCxnSpPr>
        <p:spPr>
          <a:xfrm>
            <a:off x="6075122" y="1722133"/>
            <a:ext cx="226397" cy="132971"/>
          </a:xfrm>
          <a:prstGeom prst="line">
            <a:avLst/>
          </a:prstGeom>
          <a:noFill/>
          <a:ln w="6350" cap="flat" cmpd="sng" algn="ctr">
            <a:noFill/>
            <a:prstDash val="solid"/>
            <a:miter lim="800000"/>
          </a:ln>
          <a:effectLst/>
        </p:spPr>
      </p:cxnSp>
      <p:cxnSp>
        <p:nvCxnSpPr>
          <p:cNvPr id="498" name="Straight Connector 497"/>
          <p:cNvCxnSpPr/>
          <p:nvPr/>
        </p:nvCxnSpPr>
        <p:spPr>
          <a:xfrm>
            <a:off x="6297836" y="1844938"/>
            <a:ext cx="226397" cy="132971"/>
          </a:xfrm>
          <a:prstGeom prst="line">
            <a:avLst/>
          </a:prstGeom>
          <a:noFill/>
          <a:ln w="6350" cap="flat" cmpd="sng" algn="ctr">
            <a:noFill/>
            <a:prstDash val="solid"/>
            <a:miter lim="800000"/>
          </a:ln>
          <a:effectLst/>
        </p:spPr>
      </p:cxnSp>
      <p:cxnSp>
        <p:nvCxnSpPr>
          <p:cNvPr id="499" name="Straight Connector 498"/>
          <p:cNvCxnSpPr/>
          <p:nvPr/>
        </p:nvCxnSpPr>
        <p:spPr>
          <a:xfrm flipH="1">
            <a:off x="6297836" y="1983615"/>
            <a:ext cx="226397" cy="132971"/>
          </a:xfrm>
          <a:prstGeom prst="line">
            <a:avLst/>
          </a:prstGeom>
          <a:noFill/>
          <a:ln w="6350" cap="flat" cmpd="sng" algn="ctr">
            <a:noFill/>
            <a:prstDash val="solid"/>
            <a:miter lim="800000"/>
          </a:ln>
          <a:effectLst/>
        </p:spPr>
      </p:cxnSp>
      <p:cxnSp>
        <p:nvCxnSpPr>
          <p:cNvPr id="500" name="Straight Connector 499"/>
          <p:cNvCxnSpPr/>
          <p:nvPr/>
        </p:nvCxnSpPr>
        <p:spPr>
          <a:xfrm>
            <a:off x="6297837" y="1856350"/>
            <a:ext cx="32" cy="263319"/>
          </a:xfrm>
          <a:prstGeom prst="line">
            <a:avLst/>
          </a:prstGeom>
          <a:noFill/>
          <a:ln w="6350" cap="flat" cmpd="sng" algn="ctr">
            <a:noFill/>
            <a:prstDash val="solid"/>
            <a:miter lim="800000"/>
          </a:ln>
          <a:effectLst/>
        </p:spPr>
      </p:cxnSp>
      <p:cxnSp>
        <p:nvCxnSpPr>
          <p:cNvPr id="501" name="Straight Connector 500"/>
          <p:cNvCxnSpPr/>
          <p:nvPr/>
        </p:nvCxnSpPr>
        <p:spPr>
          <a:xfrm flipV="1">
            <a:off x="6071472" y="1850644"/>
            <a:ext cx="226364" cy="127265"/>
          </a:xfrm>
          <a:prstGeom prst="line">
            <a:avLst/>
          </a:prstGeom>
          <a:noFill/>
          <a:ln w="6350" cap="flat" cmpd="sng" algn="ctr">
            <a:noFill/>
            <a:prstDash val="solid"/>
            <a:miter lim="800000"/>
          </a:ln>
          <a:effectLst/>
        </p:spPr>
      </p:cxnSp>
      <p:cxnSp>
        <p:nvCxnSpPr>
          <p:cNvPr id="502" name="Straight Connector 501"/>
          <p:cNvCxnSpPr/>
          <p:nvPr/>
        </p:nvCxnSpPr>
        <p:spPr>
          <a:xfrm flipV="1">
            <a:off x="6297836" y="1711966"/>
            <a:ext cx="226397" cy="144383"/>
          </a:xfrm>
          <a:prstGeom prst="line">
            <a:avLst/>
          </a:prstGeom>
          <a:noFill/>
          <a:ln w="6350" cap="flat" cmpd="sng" algn="ctr">
            <a:noFill/>
            <a:prstDash val="solid"/>
            <a:miter lim="800000"/>
          </a:ln>
          <a:effectLst/>
        </p:spPr>
      </p:cxnSp>
      <p:cxnSp>
        <p:nvCxnSpPr>
          <p:cNvPr id="503" name="Straight Connector 502"/>
          <p:cNvCxnSpPr/>
          <p:nvPr/>
        </p:nvCxnSpPr>
        <p:spPr>
          <a:xfrm>
            <a:off x="6075106" y="1741809"/>
            <a:ext cx="32" cy="263319"/>
          </a:xfrm>
          <a:prstGeom prst="line">
            <a:avLst/>
          </a:prstGeom>
          <a:noFill/>
          <a:ln w="6350" cap="flat" cmpd="sng" algn="ctr">
            <a:noFill/>
            <a:prstDash val="solid"/>
            <a:miter lim="800000"/>
          </a:ln>
          <a:effectLst/>
        </p:spPr>
      </p:cxnSp>
      <p:sp>
        <p:nvSpPr>
          <p:cNvPr id="504" name="Hexagon 503"/>
          <p:cNvSpPr/>
          <p:nvPr/>
        </p:nvSpPr>
        <p:spPr>
          <a:xfrm>
            <a:off x="6394438"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05" name="Hexagon 504"/>
          <p:cNvSpPr/>
          <p:nvPr/>
        </p:nvSpPr>
        <p:spPr>
          <a:xfrm>
            <a:off x="6620835"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06" name="Hexagon 505"/>
          <p:cNvSpPr/>
          <p:nvPr/>
        </p:nvSpPr>
        <p:spPr>
          <a:xfrm>
            <a:off x="6394438"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07" name="Hexagon 506"/>
          <p:cNvSpPr/>
          <p:nvPr/>
        </p:nvSpPr>
        <p:spPr>
          <a:xfrm>
            <a:off x="6620835"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08" name="Straight Connector 507"/>
          <p:cNvCxnSpPr/>
          <p:nvPr/>
        </p:nvCxnSpPr>
        <p:spPr>
          <a:xfrm>
            <a:off x="6529193" y="1983615"/>
            <a:ext cx="226397" cy="132971"/>
          </a:xfrm>
          <a:prstGeom prst="line">
            <a:avLst/>
          </a:prstGeom>
          <a:noFill/>
          <a:ln w="6350" cap="flat" cmpd="sng" algn="ctr">
            <a:noFill/>
            <a:prstDash val="solid"/>
            <a:miter lim="800000"/>
          </a:ln>
          <a:effectLst/>
        </p:spPr>
      </p:cxnSp>
      <p:cxnSp>
        <p:nvCxnSpPr>
          <p:cNvPr id="509" name="Straight Connector 508"/>
          <p:cNvCxnSpPr/>
          <p:nvPr/>
        </p:nvCxnSpPr>
        <p:spPr>
          <a:xfrm>
            <a:off x="6529193" y="1717673"/>
            <a:ext cx="226397" cy="132971"/>
          </a:xfrm>
          <a:prstGeom prst="line">
            <a:avLst/>
          </a:prstGeom>
          <a:noFill/>
          <a:ln w="6350" cap="flat" cmpd="sng" algn="ctr">
            <a:noFill/>
            <a:prstDash val="solid"/>
            <a:miter lim="800000"/>
          </a:ln>
          <a:effectLst/>
        </p:spPr>
      </p:cxnSp>
      <p:cxnSp>
        <p:nvCxnSpPr>
          <p:cNvPr id="510" name="Straight Connector 509"/>
          <p:cNvCxnSpPr/>
          <p:nvPr/>
        </p:nvCxnSpPr>
        <p:spPr>
          <a:xfrm>
            <a:off x="6751907" y="1844938"/>
            <a:ext cx="226397" cy="132971"/>
          </a:xfrm>
          <a:prstGeom prst="line">
            <a:avLst/>
          </a:prstGeom>
          <a:noFill/>
          <a:ln w="6350" cap="flat" cmpd="sng" algn="ctr">
            <a:noFill/>
            <a:prstDash val="solid"/>
            <a:miter lim="800000"/>
          </a:ln>
          <a:effectLst/>
        </p:spPr>
      </p:cxnSp>
      <p:cxnSp>
        <p:nvCxnSpPr>
          <p:cNvPr id="511" name="Straight Connector 510"/>
          <p:cNvCxnSpPr/>
          <p:nvPr/>
        </p:nvCxnSpPr>
        <p:spPr>
          <a:xfrm flipH="1">
            <a:off x="6751907" y="1983615"/>
            <a:ext cx="226397" cy="132971"/>
          </a:xfrm>
          <a:prstGeom prst="line">
            <a:avLst/>
          </a:prstGeom>
          <a:noFill/>
          <a:ln w="6350" cap="flat" cmpd="sng" algn="ctr">
            <a:noFill/>
            <a:prstDash val="solid"/>
            <a:miter lim="800000"/>
          </a:ln>
          <a:effectLst/>
        </p:spPr>
      </p:cxnSp>
      <p:cxnSp>
        <p:nvCxnSpPr>
          <p:cNvPr id="512" name="Straight Connector 511"/>
          <p:cNvCxnSpPr/>
          <p:nvPr/>
        </p:nvCxnSpPr>
        <p:spPr>
          <a:xfrm>
            <a:off x="6751908" y="1856350"/>
            <a:ext cx="32" cy="263319"/>
          </a:xfrm>
          <a:prstGeom prst="line">
            <a:avLst/>
          </a:prstGeom>
          <a:noFill/>
          <a:ln w="6350" cap="flat" cmpd="sng" algn="ctr">
            <a:noFill/>
            <a:prstDash val="solid"/>
            <a:miter lim="800000"/>
          </a:ln>
          <a:effectLst/>
        </p:spPr>
      </p:cxnSp>
      <p:cxnSp>
        <p:nvCxnSpPr>
          <p:cNvPr id="513" name="Straight Connector 512"/>
          <p:cNvCxnSpPr/>
          <p:nvPr/>
        </p:nvCxnSpPr>
        <p:spPr>
          <a:xfrm flipV="1">
            <a:off x="6525543" y="1850644"/>
            <a:ext cx="226364" cy="127265"/>
          </a:xfrm>
          <a:prstGeom prst="line">
            <a:avLst/>
          </a:prstGeom>
          <a:noFill/>
          <a:ln w="6350" cap="flat" cmpd="sng" algn="ctr">
            <a:noFill/>
            <a:prstDash val="solid"/>
            <a:miter lim="800000"/>
          </a:ln>
          <a:effectLst/>
        </p:spPr>
      </p:cxnSp>
      <p:cxnSp>
        <p:nvCxnSpPr>
          <p:cNvPr id="514" name="Straight Connector 513"/>
          <p:cNvCxnSpPr/>
          <p:nvPr/>
        </p:nvCxnSpPr>
        <p:spPr>
          <a:xfrm flipV="1">
            <a:off x="6751907" y="1711966"/>
            <a:ext cx="226397" cy="144383"/>
          </a:xfrm>
          <a:prstGeom prst="line">
            <a:avLst/>
          </a:prstGeom>
          <a:noFill/>
          <a:ln w="6350" cap="flat" cmpd="sng" algn="ctr">
            <a:noFill/>
            <a:prstDash val="solid"/>
            <a:miter lim="800000"/>
          </a:ln>
          <a:effectLst/>
        </p:spPr>
      </p:cxnSp>
      <p:cxnSp>
        <p:nvCxnSpPr>
          <p:cNvPr id="515" name="Straight Connector 514"/>
          <p:cNvCxnSpPr/>
          <p:nvPr/>
        </p:nvCxnSpPr>
        <p:spPr>
          <a:xfrm>
            <a:off x="6537325" y="1741809"/>
            <a:ext cx="32" cy="263319"/>
          </a:xfrm>
          <a:prstGeom prst="line">
            <a:avLst/>
          </a:prstGeom>
          <a:noFill/>
          <a:ln w="6350" cap="flat" cmpd="sng" algn="ctr">
            <a:noFill/>
            <a:prstDash val="solid"/>
            <a:miter lim="800000"/>
          </a:ln>
          <a:effectLst/>
        </p:spPr>
      </p:cxnSp>
      <p:sp>
        <p:nvSpPr>
          <p:cNvPr id="516" name="Hexagon 515"/>
          <p:cNvSpPr/>
          <p:nvPr/>
        </p:nvSpPr>
        <p:spPr>
          <a:xfrm>
            <a:off x="6846871"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17" name="Hexagon 516"/>
          <p:cNvSpPr/>
          <p:nvPr/>
        </p:nvSpPr>
        <p:spPr>
          <a:xfrm>
            <a:off x="7073269"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18" name="Hexagon 517"/>
          <p:cNvSpPr/>
          <p:nvPr/>
        </p:nvSpPr>
        <p:spPr>
          <a:xfrm>
            <a:off x="6846871"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19" name="Hexagon 518"/>
          <p:cNvSpPr/>
          <p:nvPr/>
        </p:nvSpPr>
        <p:spPr>
          <a:xfrm>
            <a:off x="7073269"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20" name="Straight Connector 519"/>
          <p:cNvCxnSpPr/>
          <p:nvPr/>
        </p:nvCxnSpPr>
        <p:spPr>
          <a:xfrm>
            <a:off x="6981627" y="1983615"/>
            <a:ext cx="226397" cy="132971"/>
          </a:xfrm>
          <a:prstGeom prst="line">
            <a:avLst/>
          </a:prstGeom>
          <a:noFill/>
          <a:ln w="6350" cap="flat" cmpd="sng" algn="ctr">
            <a:noFill/>
            <a:prstDash val="solid"/>
            <a:miter lim="800000"/>
          </a:ln>
          <a:effectLst/>
        </p:spPr>
      </p:cxnSp>
      <p:cxnSp>
        <p:nvCxnSpPr>
          <p:cNvPr id="521" name="Straight Connector 520"/>
          <p:cNvCxnSpPr/>
          <p:nvPr/>
        </p:nvCxnSpPr>
        <p:spPr>
          <a:xfrm>
            <a:off x="6981627" y="1717673"/>
            <a:ext cx="226397" cy="132971"/>
          </a:xfrm>
          <a:prstGeom prst="line">
            <a:avLst/>
          </a:prstGeom>
          <a:noFill/>
          <a:ln w="6350" cap="flat" cmpd="sng" algn="ctr">
            <a:noFill/>
            <a:prstDash val="solid"/>
            <a:miter lim="800000"/>
          </a:ln>
          <a:effectLst/>
        </p:spPr>
      </p:cxnSp>
      <p:cxnSp>
        <p:nvCxnSpPr>
          <p:cNvPr id="522" name="Straight Connector 521"/>
          <p:cNvCxnSpPr/>
          <p:nvPr/>
        </p:nvCxnSpPr>
        <p:spPr>
          <a:xfrm>
            <a:off x="7207941" y="1844938"/>
            <a:ext cx="226397" cy="132971"/>
          </a:xfrm>
          <a:prstGeom prst="line">
            <a:avLst/>
          </a:prstGeom>
          <a:noFill/>
          <a:ln w="6350" cap="flat" cmpd="sng" algn="ctr">
            <a:noFill/>
            <a:prstDash val="solid"/>
            <a:miter lim="800000"/>
          </a:ln>
          <a:effectLst/>
        </p:spPr>
      </p:cxnSp>
      <p:cxnSp>
        <p:nvCxnSpPr>
          <p:cNvPr id="523" name="Straight Connector 522"/>
          <p:cNvCxnSpPr/>
          <p:nvPr/>
        </p:nvCxnSpPr>
        <p:spPr>
          <a:xfrm flipH="1">
            <a:off x="7207941" y="1983615"/>
            <a:ext cx="226397" cy="132971"/>
          </a:xfrm>
          <a:prstGeom prst="line">
            <a:avLst/>
          </a:prstGeom>
          <a:noFill/>
          <a:ln w="6350" cap="flat" cmpd="sng" algn="ctr">
            <a:noFill/>
            <a:prstDash val="solid"/>
            <a:miter lim="800000"/>
          </a:ln>
          <a:effectLst/>
        </p:spPr>
      </p:cxnSp>
      <p:cxnSp>
        <p:nvCxnSpPr>
          <p:cNvPr id="524" name="Straight Connector 523"/>
          <p:cNvCxnSpPr/>
          <p:nvPr/>
        </p:nvCxnSpPr>
        <p:spPr>
          <a:xfrm>
            <a:off x="7204342" y="1856350"/>
            <a:ext cx="32" cy="263319"/>
          </a:xfrm>
          <a:prstGeom prst="line">
            <a:avLst/>
          </a:prstGeom>
          <a:noFill/>
          <a:ln w="6350" cap="flat" cmpd="sng" algn="ctr">
            <a:noFill/>
            <a:prstDash val="solid"/>
            <a:miter lim="800000"/>
          </a:ln>
          <a:effectLst/>
        </p:spPr>
      </p:cxnSp>
      <p:cxnSp>
        <p:nvCxnSpPr>
          <p:cNvPr id="525" name="Straight Connector 524"/>
          <p:cNvCxnSpPr/>
          <p:nvPr/>
        </p:nvCxnSpPr>
        <p:spPr>
          <a:xfrm flipV="1">
            <a:off x="6977977" y="1850644"/>
            <a:ext cx="226364" cy="127265"/>
          </a:xfrm>
          <a:prstGeom prst="line">
            <a:avLst/>
          </a:prstGeom>
          <a:noFill/>
          <a:ln w="6350" cap="flat" cmpd="sng" algn="ctr">
            <a:noFill/>
            <a:prstDash val="solid"/>
            <a:miter lim="800000"/>
          </a:ln>
          <a:effectLst/>
        </p:spPr>
      </p:cxnSp>
      <p:cxnSp>
        <p:nvCxnSpPr>
          <p:cNvPr id="526" name="Straight Connector 525"/>
          <p:cNvCxnSpPr/>
          <p:nvPr/>
        </p:nvCxnSpPr>
        <p:spPr>
          <a:xfrm flipV="1">
            <a:off x="7207941" y="1711966"/>
            <a:ext cx="226397" cy="144383"/>
          </a:xfrm>
          <a:prstGeom prst="line">
            <a:avLst/>
          </a:prstGeom>
          <a:noFill/>
          <a:ln w="6350" cap="flat" cmpd="sng" algn="ctr">
            <a:noFill/>
            <a:prstDash val="solid"/>
            <a:miter lim="800000"/>
          </a:ln>
          <a:effectLst/>
        </p:spPr>
      </p:cxnSp>
      <p:cxnSp>
        <p:nvCxnSpPr>
          <p:cNvPr id="527" name="Straight Connector 526"/>
          <p:cNvCxnSpPr/>
          <p:nvPr/>
        </p:nvCxnSpPr>
        <p:spPr>
          <a:xfrm>
            <a:off x="6981610" y="1741809"/>
            <a:ext cx="32" cy="263319"/>
          </a:xfrm>
          <a:prstGeom prst="line">
            <a:avLst/>
          </a:prstGeom>
          <a:noFill/>
          <a:ln w="6350" cap="flat" cmpd="sng" algn="ctr">
            <a:noFill/>
            <a:prstDash val="solid"/>
            <a:miter lim="800000"/>
          </a:ln>
          <a:effectLst/>
        </p:spPr>
      </p:cxnSp>
      <p:sp>
        <p:nvSpPr>
          <p:cNvPr id="528" name="Hexagon 527"/>
          <p:cNvSpPr/>
          <p:nvPr/>
        </p:nvSpPr>
        <p:spPr>
          <a:xfrm>
            <a:off x="7300468" y="1600576"/>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29" name="Hexagon 528"/>
          <p:cNvSpPr/>
          <p:nvPr/>
        </p:nvSpPr>
        <p:spPr>
          <a:xfrm>
            <a:off x="7526865" y="1729087"/>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30" name="Hexagon 529"/>
          <p:cNvSpPr/>
          <p:nvPr/>
        </p:nvSpPr>
        <p:spPr>
          <a:xfrm>
            <a:off x="7300468" y="1862058"/>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31" name="Hexagon 530"/>
          <p:cNvSpPr/>
          <p:nvPr/>
        </p:nvSpPr>
        <p:spPr>
          <a:xfrm>
            <a:off x="7526865" y="1990569"/>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32" name="Straight Connector 531"/>
          <p:cNvCxnSpPr/>
          <p:nvPr/>
        </p:nvCxnSpPr>
        <p:spPr>
          <a:xfrm>
            <a:off x="7435223" y="1983615"/>
            <a:ext cx="226397" cy="132971"/>
          </a:xfrm>
          <a:prstGeom prst="line">
            <a:avLst/>
          </a:prstGeom>
          <a:noFill/>
          <a:ln w="6350" cap="flat" cmpd="sng" algn="ctr">
            <a:noFill/>
            <a:prstDash val="solid"/>
            <a:miter lim="800000"/>
          </a:ln>
          <a:effectLst/>
        </p:spPr>
      </p:cxnSp>
      <p:cxnSp>
        <p:nvCxnSpPr>
          <p:cNvPr id="533" name="Straight Connector 532"/>
          <p:cNvCxnSpPr/>
          <p:nvPr/>
        </p:nvCxnSpPr>
        <p:spPr>
          <a:xfrm>
            <a:off x="7435223" y="1717673"/>
            <a:ext cx="226397" cy="132971"/>
          </a:xfrm>
          <a:prstGeom prst="line">
            <a:avLst/>
          </a:prstGeom>
          <a:noFill/>
          <a:ln w="6350" cap="flat" cmpd="sng" algn="ctr">
            <a:noFill/>
            <a:prstDash val="solid"/>
            <a:miter lim="800000"/>
          </a:ln>
          <a:effectLst/>
        </p:spPr>
      </p:cxnSp>
      <p:cxnSp>
        <p:nvCxnSpPr>
          <p:cNvPr id="534" name="Straight Connector 533"/>
          <p:cNvCxnSpPr/>
          <p:nvPr/>
        </p:nvCxnSpPr>
        <p:spPr>
          <a:xfrm>
            <a:off x="7654338" y="1844938"/>
            <a:ext cx="226397" cy="132971"/>
          </a:xfrm>
          <a:prstGeom prst="line">
            <a:avLst/>
          </a:prstGeom>
          <a:noFill/>
          <a:ln w="6350" cap="flat" cmpd="sng" algn="ctr">
            <a:noFill/>
            <a:prstDash val="solid"/>
            <a:miter lim="800000"/>
          </a:ln>
          <a:effectLst/>
        </p:spPr>
      </p:cxnSp>
      <p:cxnSp>
        <p:nvCxnSpPr>
          <p:cNvPr id="535" name="Straight Connector 534"/>
          <p:cNvCxnSpPr/>
          <p:nvPr/>
        </p:nvCxnSpPr>
        <p:spPr>
          <a:xfrm flipH="1">
            <a:off x="7654338" y="1983615"/>
            <a:ext cx="226397" cy="132971"/>
          </a:xfrm>
          <a:prstGeom prst="line">
            <a:avLst/>
          </a:prstGeom>
          <a:noFill/>
          <a:ln w="6350" cap="flat" cmpd="sng" algn="ctr">
            <a:noFill/>
            <a:prstDash val="solid"/>
            <a:miter lim="800000"/>
          </a:ln>
          <a:effectLst/>
        </p:spPr>
      </p:cxnSp>
      <p:cxnSp>
        <p:nvCxnSpPr>
          <p:cNvPr id="536" name="Straight Connector 535"/>
          <p:cNvCxnSpPr/>
          <p:nvPr/>
        </p:nvCxnSpPr>
        <p:spPr>
          <a:xfrm>
            <a:off x="7654339" y="1856350"/>
            <a:ext cx="32" cy="263319"/>
          </a:xfrm>
          <a:prstGeom prst="line">
            <a:avLst/>
          </a:prstGeom>
          <a:noFill/>
          <a:ln w="6350" cap="flat" cmpd="sng" algn="ctr">
            <a:noFill/>
            <a:prstDash val="solid"/>
            <a:miter lim="800000"/>
          </a:ln>
          <a:effectLst/>
        </p:spPr>
      </p:cxnSp>
      <p:cxnSp>
        <p:nvCxnSpPr>
          <p:cNvPr id="537" name="Straight Connector 536"/>
          <p:cNvCxnSpPr/>
          <p:nvPr/>
        </p:nvCxnSpPr>
        <p:spPr>
          <a:xfrm flipV="1">
            <a:off x="7431573" y="1850644"/>
            <a:ext cx="226364" cy="127265"/>
          </a:xfrm>
          <a:prstGeom prst="line">
            <a:avLst/>
          </a:prstGeom>
          <a:noFill/>
          <a:ln w="6350" cap="flat" cmpd="sng" algn="ctr">
            <a:noFill/>
            <a:prstDash val="solid"/>
            <a:miter lim="800000"/>
          </a:ln>
          <a:effectLst/>
        </p:spPr>
      </p:cxnSp>
      <p:cxnSp>
        <p:nvCxnSpPr>
          <p:cNvPr id="538" name="Straight Connector 537"/>
          <p:cNvCxnSpPr/>
          <p:nvPr/>
        </p:nvCxnSpPr>
        <p:spPr>
          <a:xfrm flipV="1">
            <a:off x="7654338" y="1711966"/>
            <a:ext cx="226397" cy="144383"/>
          </a:xfrm>
          <a:prstGeom prst="line">
            <a:avLst/>
          </a:prstGeom>
          <a:noFill/>
          <a:ln w="6350" cap="flat" cmpd="sng" algn="ctr">
            <a:noFill/>
            <a:prstDash val="solid"/>
            <a:miter lim="800000"/>
          </a:ln>
          <a:effectLst/>
        </p:spPr>
      </p:cxnSp>
      <p:cxnSp>
        <p:nvCxnSpPr>
          <p:cNvPr id="539" name="Straight Connector 538"/>
          <p:cNvCxnSpPr/>
          <p:nvPr/>
        </p:nvCxnSpPr>
        <p:spPr>
          <a:xfrm>
            <a:off x="7435207" y="1741809"/>
            <a:ext cx="32" cy="263319"/>
          </a:xfrm>
          <a:prstGeom prst="line">
            <a:avLst/>
          </a:prstGeom>
          <a:noFill/>
          <a:ln w="6350" cap="flat" cmpd="sng" algn="ctr">
            <a:noFill/>
            <a:prstDash val="solid"/>
            <a:miter lim="800000"/>
          </a:ln>
          <a:effectLst/>
        </p:spPr>
      </p:cxnSp>
      <p:sp>
        <p:nvSpPr>
          <p:cNvPr id="540" name="Hexagon 539"/>
          <p:cNvSpPr/>
          <p:nvPr/>
        </p:nvSpPr>
        <p:spPr>
          <a:xfrm>
            <a:off x="7752039"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41" name="Hexagon 540"/>
          <p:cNvSpPr/>
          <p:nvPr/>
        </p:nvSpPr>
        <p:spPr>
          <a:xfrm>
            <a:off x="7978436"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42" name="Hexagon 541"/>
          <p:cNvSpPr/>
          <p:nvPr/>
        </p:nvSpPr>
        <p:spPr>
          <a:xfrm>
            <a:off x="7752039"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43" name="Hexagon 542"/>
          <p:cNvSpPr/>
          <p:nvPr/>
        </p:nvSpPr>
        <p:spPr>
          <a:xfrm>
            <a:off x="7978436"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44" name="Straight Connector 543"/>
          <p:cNvCxnSpPr/>
          <p:nvPr/>
        </p:nvCxnSpPr>
        <p:spPr>
          <a:xfrm>
            <a:off x="7886794" y="1987090"/>
            <a:ext cx="226397" cy="132971"/>
          </a:xfrm>
          <a:prstGeom prst="line">
            <a:avLst/>
          </a:prstGeom>
          <a:noFill/>
          <a:ln w="6350" cap="flat" cmpd="sng" algn="ctr">
            <a:noFill/>
            <a:prstDash val="solid"/>
            <a:miter lim="800000"/>
          </a:ln>
          <a:effectLst/>
        </p:spPr>
      </p:cxnSp>
      <p:cxnSp>
        <p:nvCxnSpPr>
          <p:cNvPr id="545" name="Straight Connector 544"/>
          <p:cNvCxnSpPr/>
          <p:nvPr/>
        </p:nvCxnSpPr>
        <p:spPr>
          <a:xfrm>
            <a:off x="7886794" y="1721147"/>
            <a:ext cx="226397" cy="132971"/>
          </a:xfrm>
          <a:prstGeom prst="line">
            <a:avLst/>
          </a:prstGeom>
          <a:noFill/>
          <a:ln w="6350" cap="flat" cmpd="sng" algn="ctr">
            <a:noFill/>
            <a:prstDash val="solid"/>
            <a:miter lim="800000"/>
          </a:ln>
          <a:effectLst/>
        </p:spPr>
      </p:cxnSp>
      <p:cxnSp>
        <p:nvCxnSpPr>
          <p:cNvPr id="546" name="Straight Connector 545"/>
          <p:cNvCxnSpPr/>
          <p:nvPr/>
        </p:nvCxnSpPr>
        <p:spPr>
          <a:xfrm>
            <a:off x="8109509" y="1848412"/>
            <a:ext cx="226397" cy="132971"/>
          </a:xfrm>
          <a:prstGeom prst="line">
            <a:avLst/>
          </a:prstGeom>
          <a:noFill/>
          <a:ln w="6350" cap="flat" cmpd="sng" algn="ctr">
            <a:noFill/>
            <a:prstDash val="solid"/>
            <a:miter lim="800000"/>
          </a:ln>
          <a:effectLst/>
        </p:spPr>
      </p:cxnSp>
      <p:cxnSp>
        <p:nvCxnSpPr>
          <p:cNvPr id="547" name="Straight Connector 546"/>
          <p:cNvCxnSpPr/>
          <p:nvPr/>
        </p:nvCxnSpPr>
        <p:spPr>
          <a:xfrm flipH="1">
            <a:off x="8109509" y="1987090"/>
            <a:ext cx="226397" cy="132971"/>
          </a:xfrm>
          <a:prstGeom prst="line">
            <a:avLst/>
          </a:prstGeom>
          <a:noFill/>
          <a:ln w="6350" cap="flat" cmpd="sng" algn="ctr">
            <a:noFill/>
            <a:prstDash val="solid"/>
            <a:miter lim="800000"/>
          </a:ln>
          <a:effectLst/>
        </p:spPr>
      </p:cxnSp>
      <p:cxnSp>
        <p:nvCxnSpPr>
          <p:cNvPr id="548" name="Straight Connector 547"/>
          <p:cNvCxnSpPr/>
          <p:nvPr/>
        </p:nvCxnSpPr>
        <p:spPr>
          <a:xfrm>
            <a:off x="8109510" y="1859825"/>
            <a:ext cx="32" cy="263319"/>
          </a:xfrm>
          <a:prstGeom prst="line">
            <a:avLst/>
          </a:prstGeom>
          <a:noFill/>
          <a:ln w="6350" cap="flat" cmpd="sng" algn="ctr">
            <a:noFill/>
            <a:prstDash val="solid"/>
            <a:miter lim="800000"/>
          </a:ln>
          <a:effectLst/>
        </p:spPr>
      </p:cxnSp>
      <p:cxnSp>
        <p:nvCxnSpPr>
          <p:cNvPr id="549" name="Straight Connector 548"/>
          <p:cNvCxnSpPr/>
          <p:nvPr/>
        </p:nvCxnSpPr>
        <p:spPr>
          <a:xfrm flipV="1">
            <a:off x="7883144" y="1854118"/>
            <a:ext cx="226364" cy="127265"/>
          </a:xfrm>
          <a:prstGeom prst="line">
            <a:avLst/>
          </a:prstGeom>
          <a:noFill/>
          <a:ln w="6350" cap="flat" cmpd="sng" algn="ctr">
            <a:noFill/>
            <a:prstDash val="solid"/>
            <a:miter lim="800000"/>
          </a:ln>
          <a:effectLst/>
        </p:spPr>
      </p:cxnSp>
      <p:cxnSp>
        <p:nvCxnSpPr>
          <p:cNvPr id="550" name="Straight Connector 549"/>
          <p:cNvCxnSpPr/>
          <p:nvPr/>
        </p:nvCxnSpPr>
        <p:spPr>
          <a:xfrm flipV="1">
            <a:off x="8109509" y="1715440"/>
            <a:ext cx="226397" cy="144383"/>
          </a:xfrm>
          <a:prstGeom prst="line">
            <a:avLst/>
          </a:prstGeom>
          <a:noFill/>
          <a:ln w="6350" cap="flat" cmpd="sng" algn="ctr">
            <a:noFill/>
            <a:prstDash val="solid"/>
            <a:miter lim="800000"/>
          </a:ln>
          <a:effectLst/>
        </p:spPr>
      </p:cxnSp>
      <p:cxnSp>
        <p:nvCxnSpPr>
          <p:cNvPr id="551" name="Straight Connector 550"/>
          <p:cNvCxnSpPr/>
          <p:nvPr/>
        </p:nvCxnSpPr>
        <p:spPr>
          <a:xfrm>
            <a:off x="7886778" y="1749743"/>
            <a:ext cx="32" cy="263319"/>
          </a:xfrm>
          <a:prstGeom prst="line">
            <a:avLst/>
          </a:prstGeom>
          <a:noFill/>
          <a:ln w="6350" cap="flat" cmpd="sng" algn="ctr">
            <a:noFill/>
            <a:prstDash val="solid"/>
            <a:miter lim="800000"/>
          </a:ln>
          <a:effectLst/>
        </p:spPr>
      </p:cxnSp>
      <p:sp>
        <p:nvSpPr>
          <p:cNvPr id="552" name="Hexagon 551"/>
          <p:cNvSpPr/>
          <p:nvPr/>
        </p:nvSpPr>
        <p:spPr>
          <a:xfrm>
            <a:off x="8202035"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53" name="Hexagon 552"/>
          <p:cNvSpPr/>
          <p:nvPr/>
        </p:nvSpPr>
        <p:spPr>
          <a:xfrm>
            <a:off x="8424833"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54" name="Hexagon 553"/>
          <p:cNvSpPr/>
          <p:nvPr/>
        </p:nvSpPr>
        <p:spPr>
          <a:xfrm>
            <a:off x="8202035"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55" name="Hexagon 554"/>
          <p:cNvSpPr/>
          <p:nvPr/>
        </p:nvSpPr>
        <p:spPr>
          <a:xfrm>
            <a:off x="8424833"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56" name="Straight Connector 555"/>
          <p:cNvCxnSpPr/>
          <p:nvPr/>
        </p:nvCxnSpPr>
        <p:spPr>
          <a:xfrm>
            <a:off x="8336791" y="1987090"/>
            <a:ext cx="226397" cy="132971"/>
          </a:xfrm>
          <a:prstGeom prst="line">
            <a:avLst/>
          </a:prstGeom>
          <a:noFill/>
          <a:ln w="6350" cap="flat" cmpd="sng" algn="ctr">
            <a:noFill/>
            <a:prstDash val="solid"/>
            <a:miter lim="800000"/>
          </a:ln>
          <a:effectLst/>
        </p:spPr>
      </p:cxnSp>
      <p:cxnSp>
        <p:nvCxnSpPr>
          <p:cNvPr id="557" name="Straight Connector 556"/>
          <p:cNvCxnSpPr/>
          <p:nvPr/>
        </p:nvCxnSpPr>
        <p:spPr>
          <a:xfrm>
            <a:off x="8336791" y="1721147"/>
            <a:ext cx="226397" cy="132971"/>
          </a:xfrm>
          <a:prstGeom prst="line">
            <a:avLst/>
          </a:prstGeom>
          <a:noFill/>
          <a:ln w="6350" cap="flat" cmpd="sng" algn="ctr">
            <a:noFill/>
            <a:prstDash val="solid"/>
            <a:miter lim="800000"/>
          </a:ln>
          <a:effectLst/>
        </p:spPr>
      </p:cxnSp>
      <p:cxnSp>
        <p:nvCxnSpPr>
          <p:cNvPr id="558" name="Straight Connector 557"/>
          <p:cNvCxnSpPr/>
          <p:nvPr/>
        </p:nvCxnSpPr>
        <p:spPr>
          <a:xfrm>
            <a:off x="8555905" y="1848412"/>
            <a:ext cx="226397" cy="132971"/>
          </a:xfrm>
          <a:prstGeom prst="line">
            <a:avLst/>
          </a:prstGeom>
          <a:noFill/>
          <a:ln w="6350" cap="flat" cmpd="sng" algn="ctr">
            <a:noFill/>
            <a:prstDash val="solid"/>
            <a:miter lim="800000"/>
          </a:ln>
          <a:effectLst/>
        </p:spPr>
      </p:cxnSp>
      <p:cxnSp>
        <p:nvCxnSpPr>
          <p:cNvPr id="559" name="Straight Connector 558"/>
          <p:cNvCxnSpPr/>
          <p:nvPr/>
        </p:nvCxnSpPr>
        <p:spPr>
          <a:xfrm flipH="1">
            <a:off x="8555905" y="1987090"/>
            <a:ext cx="226397" cy="132971"/>
          </a:xfrm>
          <a:prstGeom prst="line">
            <a:avLst/>
          </a:prstGeom>
          <a:noFill/>
          <a:ln w="6350" cap="flat" cmpd="sng" algn="ctr">
            <a:noFill/>
            <a:prstDash val="solid"/>
            <a:miter lim="800000"/>
          </a:ln>
          <a:effectLst/>
        </p:spPr>
      </p:cxnSp>
      <p:cxnSp>
        <p:nvCxnSpPr>
          <p:cNvPr id="560" name="Straight Connector 559"/>
          <p:cNvCxnSpPr/>
          <p:nvPr/>
        </p:nvCxnSpPr>
        <p:spPr>
          <a:xfrm>
            <a:off x="8555906" y="1859825"/>
            <a:ext cx="32" cy="263319"/>
          </a:xfrm>
          <a:prstGeom prst="line">
            <a:avLst/>
          </a:prstGeom>
          <a:noFill/>
          <a:ln w="6350" cap="flat" cmpd="sng" algn="ctr">
            <a:noFill/>
            <a:prstDash val="solid"/>
            <a:miter lim="800000"/>
          </a:ln>
          <a:effectLst/>
        </p:spPr>
      </p:cxnSp>
      <p:cxnSp>
        <p:nvCxnSpPr>
          <p:cNvPr id="561" name="Straight Connector 560"/>
          <p:cNvCxnSpPr/>
          <p:nvPr/>
        </p:nvCxnSpPr>
        <p:spPr>
          <a:xfrm flipV="1">
            <a:off x="8333141" y="1854118"/>
            <a:ext cx="226364" cy="127265"/>
          </a:xfrm>
          <a:prstGeom prst="line">
            <a:avLst/>
          </a:prstGeom>
          <a:noFill/>
          <a:ln w="6350" cap="flat" cmpd="sng" algn="ctr">
            <a:noFill/>
            <a:prstDash val="solid"/>
            <a:miter lim="800000"/>
          </a:ln>
          <a:effectLst/>
        </p:spPr>
      </p:cxnSp>
      <p:cxnSp>
        <p:nvCxnSpPr>
          <p:cNvPr id="562" name="Straight Connector 561"/>
          <p:cNvCxnSpPr/>
          <p:nvPr/>
        </p:nvCxnSpPr>
        <p:spPr>
          <a:xfrm flipV="1">
            <a:off x="8555905" y="1715440"/>
            <a:ext cx="226397" cy="144383"/>
          </a:xfrm>
          <a:prstGeom prst="line">
            <a:avLst/>
          </a:prstGeom>
          <a:noFill/>
          <a:ln w="6350" cap="flat" cmpd="sng" algn="ctr">
            <a:noFill/>
            <a:prstDash val="solid"/>
            <a:miter lim="800000"/>
          </a:ln>
          <a:effectLst/>
        </p:spPr>
      </p:cxnSp>
      <p:cxnSp>
        <p:nvCxnSpPr>
          <p:cNvPr id="563" name="Straight Connector 562"/>
          <p:cNvCxnSpPr/>
          <p:nvPr/>
        </p:nvCxnSpPr>
        <p:spPr>
          <a:xfrm>
            <a:off x="8336774" y="1745283"/>
            <a:ext cx="32" cy="263319"/>
          </a:xfrm>
          <a:prstGeom prst="line">
            <a:avLst/>
          </a:prstGeom>
          <a:noFill/>
          <a:ln w="6350" cap="flat" cmpd="sng" algn="ctr">
            <a:noFill/>
            <a:prstDash val="solid"/>
            <a:miter lim="800000"/>
          </a:ln>
          <a:effectLst/>
        </p:spPr>
      </p:cxnSp>
      <p:sp>
        <p:nvSpPr>
          <p:cNvPr id="564" name="Hexagon 563"/>
          <p:cNvSpPr/>
          <p:nvPr/>
        </p:nvSpPr>
        <p:spPr>
          <a:xfrm>
            <a:off x="8650869"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65" name="Hexagon 564"/>
          <p:cNvSpPr/>
          <p:nvPr/>
        </p:nvSpPr>
        <p:spPr>
          <a:xfrm>
            <a:off x="8873667"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66" name="Hexagon 565"/>
          <p:cNvSpPr/>
          <p:nvPr/>
        </p:nvSpPr>
        <p:spPr>
          <a:xfrm>
            <a:off x="8650869"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67" name="Hexagon 566"/>
          <p:cNvSpPr/>
          <p:nvPr/>
        </p:nvSpPr>
        <p:spPr>
          <a:xfrm>
            <a:off x="8873667"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68" name="Straight Connector 567"/>
          <p:cNvCxnSpPr/>
          <p:nvPr/>
        </p:nvCxnSpPr>
        <p:spPr>
          <a:xfrm>
            <a:off x="8785625" y="1987090"/>
            <a:ext cx="226397" cy="132971"/>
          </a:xfrm>
          <a:prstGeom prst="line">
            <a:avLst/>
          </a:prstGeom>
          <a:noFill/>
          <a:ln w="6350" cap="flat" cmpd="sng" algn="ctr">
            <a:noFill/>
            <a:prstDash val="solid"/>
            <a:miter lim="800000"/>
          </a:ln>
          <a:effectLst/>
        </p:spPr>
      </p:cxnSp>
      <p:cxnSp>
        <p:nvCxnSpPr>
          <p:cNvPr id="569" name="Straight Connector 568"/>
          <p:cNvCxnSpPr/>
          <p:nvPr/>
        </p:nvCxnSpPr>
        <p:spPr>
          <a:xfrm>
            <a:off x="8785625" y="1721147"/>
            <a:ext cx="226397" cy="132971"/>
          </a:xfrm>
          <a:prstGeom prst="line">
            <a:avLst/>
          </a:prstGeom>
          <a:noFill/>
          <a:ln w="6350" cap="flat" cmpd="sng" algn="ctr">
            <a:noFill/>
            <a:prstDash val="solid"/>
            <a:miter lim="800000"/>
          </a:ln>
          <a:effectLst/>
        </p:spPr>
      </p:cxnSp>
      <p:cxnSp>
        <p:nvCxnSpPr>
          <p:cNvPr id="570" name="Straight Connector 569"/>
          <p:cNvCxnSpPr/>
          <p:nvPr/>
        </p:nvCxnSpPr>
        <p:spPr>
          <a:xfrm>
            <a:off x="8992516" y="1848412"/>
            <a:ext cx="226397" cy="132971"/>
          </a:xfrm>
          <a:prstGeom prst="line">
            <a:avLst/>
          </a:prstGeom>
          <a:noFill/>
          <a:ln w="6350" cap="flat" cmpd="sng" algn="ctr">
            <a:noFill/>
            <a:prstDash val="solid"/>
            <a:miter lim="800000"/>
          </a:ln>
          <a:effectLst/>
        </p:spPr>
      </p:cxnSp>
      <p:cxnSp>
        <p:nvCxnSpPr>
          <p:cNvPr id="571" name="Straight Connector 570"/>
          <p:cNvCxnSpPr/>
          <p:nvPr/>
        </p:nvCxnSpPr>
        <p:spPr>
          <a:xfrm flipH="1">
            <a:off x="8992516" y="1987090"/>
            <a:ext cx="226397" cy="132971"/>
          </a:xfrm>
          <a:prstGeom prst="line">
            <a:avLst/>
          </a:prstGeom>
          <a:noFill/>
          <a:ln w="6350" cap="flat" cmpd="sng" algn="ctr">
            <a:noFill/>
            <a:prstDash val="solid"/>
            <a:miter lim="800000"/>
          </a:ln>
          <a:effectLst/>
        </p:spPr>
      </p:cxnSp>
      <p:cxnSp>
        <p:nvCxnSpPr>
          <p:cNvPr id="572" name="Straight Connector 571"/>
          <p:cNvCxnSpPr/>
          <p:nvPr/>
        </p:nvCxnSpPr>
        <p:spPr>
          <a:xfrm>
            <a:off x="9004740" y="1859825"/>
            <a:ext cx="32" cy="263319"/>
          </a:xfrm>
          <a:prstGeom prst="line">
            <a:avLst/>
          </a:prstGeom>
          <a:noFill/>
          <a:ln w="6350" cap="flat" cmpd="sng" algn="ctr">
            <a:noFill/>
            <a:prstDash val="solid"/>
            <a:miter lim="800000"/>
          </a:ln>
          <a:effectLst/>
        </p:spPr>
      </p:cxnSp>
      <p:cxnSp>
        <p:nvCxnSpPr>
          <p:cNvPr id="573" name="Straight Connector 572"/>
          <p:cNvCxnSpPr/>
          <p:nvPr/>
        </p:nvCxnSpPr>
        <p:spPr>
          <a:xfrm flipV="1">
            <a:off x="8781975" y="1854118"/>
            <a:ext cx="226364" cy="127265"/>
          </a:xfrm>
          <a:prstGeom prst="line">
            <a:avLst/>
          </a:prstGeom>
          <a:noFill/>
          <a:ln w="6350" cap="flat" cmpd="sng" algn="ctr">
            <a:noFill/>
            <a:prstDash val="solid"/>
            <a:miter lim="800000"/>
          </a:ln>
          <a:effectLst/>
        </p:spPr>
      </p:cxnSp>
      <p:cxnSp>
        <p:nvCxnSpPr>
          <p:cNvPr id="574" name="Straight Connector 573"/>
          <p:cNvCxnSpPr/>
          <p:nvPr/>
        </p:nvCxnSpPr>
        <p:spPr>
          <a:xfrm flipV="1">
            <a:off x="8992516" y="1715440"/>
            <a:ext cx="226397" cy="144383"/>
          </a:xfrm>
          <a:prstGeom prst="line">
            <a:avLst/>
          </a:prstGeom>
          <a:noFill/>
          <a:ln w="6350" cap="flat" cmpd="sng" algn="ctr">
            <a:noFill/>
            <a:prstDash val="solid"/>
            <a:miter lim="800000"/>
          </a:ln>
          <a:effectLst/>
        </p:spPr>
      </p:cxnSp>
      <p:cxnSp>
        <p:nvCxnSpPr>
          <p:cNvPr id="575" name="Straight Connector 574"/>
          <p:cNvCxnSpPr/>
          <p:nvPr/>
        </p:nvCxnSpPr>
        <p:spPr>
          <a:xfrm>
            <a:off x="8785608" y="1745283"/>
            <a:ext cx="32" cy="263319"/>
          </a:xfrm>
          <a:prstGeom prst="line">
            <a:avLst/>
          </a:prstGeom>
          <a:noFill/>
          <a:ln w="6350" cap="flat" cmpd="sng" algn="ctr">
            <a:noFill/>
            <a:prstDash val="solid"/>
            <a:miter lim="800000"/>
          </a:ln>
          <a:effectLst/>
        </p:spPr>
      </p:cxnSp>
      <p:sp>
        <p:nvSpPr>
          <p:cNvPr id="576" name="Hexagon 575"/>
          <p:cNvSpPr/>
          <p:nvPr/>
        </p:nvSpPr>
        <p:spPr>
          <a:xfrm>
            <a:off x="9094615"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77" name="Hexagon 576"/>
          <p:cNvSpPr/>
          <p:nvPr/>
        </p:nvSpPr>
        <p:spPr>
          <a:xfrm>
            <a:off x="9321013"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78" name="Hexagon 577"/>
          <p:cNvSpPr/>
          <p:nvPr/>
        </p:nvSpPr>
        <p:spPr>
          <a:xfrm>
            <a:off x="9094615"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79" name="Hexagon 578"/>
          <p:cNvSpPr/>
          <p:nvPr/>
        </p:nvSpPr>
        <p:spPr>
          <a:xfrm>
            <a:off x="9321013"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80" name="Straight Connector 579"/>
          <p:cNvCxnSpPr/>
          <p:nvPr/>
        </p:nvCxnSpPr>
        <p:spPr>
          <a:xfrm>
            <a:off x="9229371" y="1987090"/>
            <a:ext cx="226397" cy="132971"/>
          </a:xfrm>
          <a:prstGeom prst="line">
            <a:avLst/>
          </a:prstGeom>
          <a:noFill/>
          <a:ln w="6350" cap="flat" cmpd="sng" algn="ctr">
            <a:noFill/>
            <a:prstDash val="solid"/>
            <a:miter lim="800000"/>
          </a:ln>
          <a:effectLst/>
        </p:spPr>
      </p:cxnSp>
      <p:cxnSp>
        <p:nvCxnSpPr>
          <p:cNvPr id="581" name="Straight Connector 580"/>
          <p:cNvCxnSpPr/>
          <p:nvPr/>
        </p:nvCxnSpPr>
        <p:spPr>
          <a:xfrm>
            <a:off x="9229371" y="1721147"/>
            <a:ext cx="226397" cy="132971"/>
          </a:xfrm>
          <a:prstGeom prst="line">
            <a:avLst/>
          </a:prstGeom>
          <a:noFill/>
          <a:ln w="6350" cap="flat" cmpd="sng" algn="ctr">
            <a:noFill/>
            <a:prstDash val="solid"/>
            <a:miter lim="800000"/>
          </a:ln>
          <a:effectLst/>
        </p:spPr>
      </p:cxnSp>
      <p:cxnSp>
        <p:nvCxnSpPr>
          <p:cNvPr id="582" name="Straight Connector 581"/>
          <p:cNvCxnSpPr/>
          <p:nvPr/>
        </p:nvCxnSpPr>
        <p:spPr>
          <a:xfrm>
            <a:off x="9452085" y="1848412"/>
            <a:ext cx="226397" cy="132971"/>
          </a:xfrm>
          <a:prstGeom prst="line">
            <a:avLst/>
          </a:prstGeom>
          <a:noFill/>
          <a:ln w="6350" cap="flat" cmpd="sng" algn="ctr">
            <a:noFill/>
            <a:prstDash val="solid"/>
            <a:miter lim="800000"/>
          </a:ln>
          <a:effectLst/>
        </p:spPr>
      </p:cxnSp>
      <p:cxnSp>
        <p:nvCxnSpPr>
          <p:cNvPr id="583" name="Straight Connector 582"/>
          <p:cNvCxnSpPr/>
          <p:nvPr/>
        </p:nvCxnSpPr>
        <p:spPr>
          <a:xfrm flipH="1">
            <a:off x="9452085" y="1987090"/>
            <a:ext cx="226397" cy="132971"/>
          </a:xfrm>
          <a:prstGeom prst="line">
            <a:avLst/>
          </a:prstGeom>
          <a:noFill/>
          <a:ln w="6350" cap="flat" cmpd="sng" algn="ctr">
            <a:noFill/>
            <a:prstDash val="solid"/>
            <a:miter lim="800000"/>
          </a:ln>
          <a:effectLst/>
        </p:spPr>
      </p:cxnSp>
      <p:cxnSp>
        <p:nvCxnSpPr>
          <p:cNvPr id="584" name="Straight Connector 583"/>
          <p:cNvCxnSpPr/>
          <p:nvPr/>
        </p:nvCxnSpPr>
        <p:spPr>
          <a:xfrm>
            <a:off x="9452086" y="1859825"/>
            <a:ext cx="32" cy="263319"/>
          </a:xfrm>
          <a:prstGeom prst="line">
            <a:avLst/>
          </a:prstGeom>
          <a:noFill/>
          <a:ln w="6350" cap="flat" cmpd="sng" algn="ctr">
            <a:noFill/>
            <a:prstDash val="solid"/>
            <a:miter lim="800000"/>
          </a:ln>
          <a:effectLst/>
        </p:spPr>
      </p:cxnSp>
      <p:cxnSp>
        <p:nvCxnSpPr>
          <p:cNvPr id="585" name="Straight Connector 584"/>
          <p:cNvCxnSpPr/>
          <p:nvPr/>
        </p:nvCxnSpPr>
        <p:spPr>
          <a:xfrm flipV="1">
            <a:off x="9225721" y="1854118"/>
            <a:ext cx="226364" cy="127265"/>
          </a:xfrm>
          <a:prstGeom prst="line">
            <a:avLst/>
          </a:prstGeom>
          <a:noFill/>
          <a:ln w="6350" cap="flat" cmpd="sng" algn="ctr">
            <a:noFill/>
            <a:prstDash val="solid"/>
            <a:miter lim="800000"/>
          </a:ln>
          <a:effectLst/>
        </p:spPr>
      </p:cxnSp>
      <p:cxnSp>
        <p:nvCxnSpPr>
          <p:cNvPr id="586" name="Straight Connector 585"/>
          <p:cNvCxnSpPr/>
          <p:nvPr/>
        </p:nvCxnSpPr>
        <p:spPr>
          <a:xfrm flipV="1">
            <a:off x="9452085" y="1715440"/>
            <a:ext cx="226397" cy="144383"/>
          </a:xfrm>
          <a:prstGeom prst="line">
            <a:avLst/>
          </a:prstGeom>
          <a:noFill/>
          <a:ln w="6350" cap="flat" cmpd="sng" algn="ctr">
            <a:noFill/>
            <a:prstDash val="solid"/>
            <a:miter lim="800000"/>
          </a:ln>
          <a:effectLst/>
        </p:spPr>
      </p:cxnSp>
      <p:cxnSp>
        <p:nvCxnSpPr>
          <p:cNvPr id="587" name="Straight Connector 586"/>
          <p:cNvCxnSpPr/>
          <p:nvPr/>
        </p:nvCxnSpPr>
        <p:spPr>
          <a:xfrm>
            <a:off x="9229354" y="1745283"/>
            <a:ext cx="32" cy="263319"/>
          </a:xfrm>
          <a:prstGeom prst="line">
            <a:avLst/>
          </a:prstGeom>
          <a:noFill/>
          <a:ln w="6350" cap="flat" cmpd="sng" algn="ctr">
            <a:noFill/>
            <a:prstDash val="solid"/>
            <a:miter lim="800000"/>
          </a:ln>
          <a:effectLst/>
        </p:spPr>
      </p:cxnSp>
      <p:sp>
        <p:nvSpPr>
          <p:cNvPr id="588" name="Hexagon 587"/>
          <p:cNvSpPr/>
          <p:nvPr/>
        </p:nvSpPr>
        <p:spPr>
          <a:xfrm>
            <a:off x="9544612"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89" name="Hexagon 588"/>
          <p:cNvSpPr/>
          <p:nvPr/>
        </p:nvSpPr>
        <p:spPr>
          <a:xfrm>
            <a:off x="9771009"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90" name="Hexagon 589"/>
          <p:cNvSpPr/>
          <p:nvPr/>
        </p:nvSpPr>
        <p:spPr>
          <a:xfrm>
            <a:off x="9544612"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591" name="Hexagon 590"/>
          <p:cNvSpPr/>
          <p:nvPr/>
        </p:nvSpPr>
        <p:spPr>
          <a:xfrm>
            <a:off x="9771009"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592" name="Straight Connector 591"/>
          <p:cNvCxnSpPr/>
          <p:nvPr/>
        </p:nvCxnSpPr>
        <p:spPr>
          <a:xfrm>
            <a:off x="9679368" y="1987090"/>
            <a:ext cx="226397" cy="132971"/>
          </a:xfrm>
          <a:prstGeom prst="line">
            <a:avLst/>
          </a:prstGeom>
          <a:noFill/>
          <a:ln w="6350" cap="flat" cmpd="sng" algn="ctr">
            <a:noFill/>
            <a:prstDash val="solid"/>
            <a:miter lim="800000"/>
          </a:ln>
          <a:effectLst/>
        </p:spPr>
      </p:cxnSp>
      <p:cxnSp>
        <p:nvCxnSpPr>
          <p:cNvPr id="593" name="Straight Connector 592"/>
          <p:cNvCxnSpPr/>
          <p:nvPr/>
        </p:nvCxnSpPr>
        <p:spPr>
          <a:xfrm>
            <a:off x="9679368" y="1721147"/>
            <a:ext cx="226397" cy="132971"/>
          </a:xfrm>
          <a:prstGeom prst="line">
            <a:avLst/>
          </a:prstGeom>
          <a:noFill/>
          <a:ln w="6350" cap="flat" cmpd="sng" algn="ctr">
            <a:noFill/>
            <a:prstDash val="solid"/>
            <a:miter lim="800000"/>
          </a:ln>
          <a:effectLst/>
        </p:spPr>
      </p:cxnSp>
      <p:cxnSp>
        <p:nvCxnSpPr>
          <p:cNvPr id="594" name="Straight Connector 593"/>
          <p:cNvCxnSpPr/>
          <p:nvPr/>
        </p:nvCxnSpPr>
        <p:spPr>
          <a:xfrm>
            <a:off x="9902082" y="1848412"/>
            <a:ext cx="226397" cy="132971"/>
          </a:xfrm>
          <a:prstGeom prst="line">
            <a:avLst/>
          </a:prstGeom>
          <a:noFill/>
          <a:ln w="6350" cap="flat" cmpd="sng" algn="ctr">
            <a:noFill/>
            <a:prstDash val="solid"/>
            <a:miter lim="800000"/>
          </a:ln>
          <a:effectLst/>
        </p:spPr>
      </p:cxnSp>
      <p:cxnSp>
        <p:nvCxnSpPr>
          <p:cNvPr id="595" name="Straight Connector 594"/>
          <p:cNvCxnSpPr/>
          <p:nvPr/>
        </p:nvCxnSpPr>
        <p:spPr>
          <a:xfrm flipH="1">
            <a:off x="9902082" y="1987090"/>
            <a:ext cx="226397" cy="132971"/>
          </a:xfrm>
          <a:prstGeom prst="line">
            <a:avLst/>
          </a:prstGeom>
          <a:noFill/>
          <a:ln w="6350" cap="flat" cmpd="sng" algn="ctr">
            <a:noFill/>
            <a:prstDash val="solid"/>
            <a:miter lim="800000"/>
          </a:ln>
          <a:effectLst/>
        </p:spPr>
      </p:cxnSp>
      <p:cxnSp>
        <p:nvCxnSpPr>
          <p:cNvPr id="596" name="Straight Connector 595"/>
          <p:cNvCxnSpPr/>
          <p:nvPr/>
        </p:nvCxnSpPr>
        <p:spPr>
          <a:xfrm>
            <a:off x="9902083" y="1859825"/>
            <a:ext cx="32" cy="263319"/>
          </a:xfrm>
          <a:prstGeom prst="line">
            <a:avLst/>
          </a:prstGeom>
          <a:noFill/>
          <a:ln w="6350" cap="flat" cmpd="sng" algn="ctr">
            <a:noFill/>
            <a:prstDash val="solid"/>
            <a:miter lim="800000"/>
          </a:ln>
          <a:effectLst/>
        </p:spPr>
      </p:cxnSp>
      <p:cxnSp>
        <p:nvCxnSpPr>
          <p:cNvPr id="597" name="Straight Connector 596"/>
          <p:cNvCxnSpPr/>
          <p:nvPr/>
        </p:nvCxnSpPr>
        <p:spPr>
          <a:xfrm flipV="1">
            <a:off x="9675718" y="1854118"/>
            <a:ext cx="226364" cy="127265"/>
          </a:xfrm>
          <a:prstGeom prst="line">
            <a:avLst/>
          </a:prstGeom>
          <a:noFill/>
          <a:ln w="6350" cap="flat" cmpd="sng" algn="ctr">
            <a:noFill/>
            <a:prstDash val="solid"/>
            <a:miter lim="800000"/>
          </a:ln>
          <a:effectLst/>
        </p:spPr>
      </p:cxnSp>
      <p:cxnSp>
        <p:nvCxnSpPr>
          <p:cNvPr id="598" name="Straight Connector 597"/>
          <p:cNvCxnSpPr/>
          <p:nvPr/>
        </p:nvCxnSpPr>
        <p:spPr>
          <a:xfrm flipV="1">
            <a:off x="9902082" y="1715440"/>
            <a:ext cx="226397" cy="144383"/>
          </a:xfrm>
          <a:prstGeom prst="line">
            <a:avLst/>
          </a:prstGeom>
          <a:noFill/>
          <a:ln w="6350" cap="flat" cmpd="sng" algn="ctr">
            <a:noFill/>
            <a:prstDash val="solid"/>
            <a:miter lim="800000"/>
          </a:ln>
          <a:effectLst/>
        </p:spPr>
      </p:cxnSp>
      <p:cxnSp>
        <p:nvCxnSpPr>
          <p:cNvPr id="599" name="Straight Connector 598"/>
          <p:cNvCxnSpPr/>
          <p:nvPr/>
        </p:nvCxnSpPr>
        <p:spPr>
          <a:xfrm>
            <a:off x="9679351" y="1749743"/>
            <a:ext cx="32" cy="263319"/>
          </a:xfrm>
          <a:prstGeom prst="line">
            <a:avLst/>
          </a:prstGeom>
          <a:noFill/>
          <a:ln w="6350" cap="flat" cmpd="sng" algn="ctr">
            <a:noFill/>
            <a:prstDash val="solid"/>
            <a:miter lim="800000"/>
          </a:ln>
          <a:effectLst/>
        </p:spPr>
      </p:cxnSp>
      <p:sp>
        <p:nvSpPr>
          <p:cNvPr id="600" name="Hexagon 599"/>
          <p:cNvSpPr/>
          <p:nvPr/>
        </p:nvSpPr>
        <p:spPr>
          <a:xfrm>
            <a:off x="9998683"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01" name="Hexagon 600"/>
          <p:cNvSpPr/>
          <p:nvPr/>
        </p:nvSpPr>
        <p:spPr>
          <a:xfrm>
            <a:off x="10225080"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02" name="Hexagon 601"/>
          <p:cNvSpPr/>
          <p:nvPr/>
        </p:nvSpPr>
        <p:spPr>
          <a:xfrm>
            <a:off x="9998683"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03" name="Hexagon 602"/>
          <p:cNvSpPr/>
          <p:nvPr/>
        </p:nvSpPr>
        <p:spPr>
          <a:xfrm>
            <a:off x="10225080"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604" name="Straight Connector 603"/>
          <p:cNvCxnSpPr/>
          <p:nvPr/>
        </p:nvCxnSpPr>
        <p:spPr>
          <a:xfrm>
            <a:off x="10133439" y="1987090"/>
            <a:ext cx="226397" cy="132971"/>
          </a:xfrm>
          <a:prstGeom prst="line">
            <a:avLst/>
          </a:prstGeom>
          <a:noFill/>
          <a:ln w="6350" cap="flat" cmpd="sng" algn="ctr">
            <a:noFill/>
            <a:prstDash val="solid"/>
            <a:miter lim="800000"/>
          </a:ln>
          <a:effectLst/>
        </p:spPr>
      </p:cxnSp>
      <p:cxnSp>
        <p:nvCxnSpPr>
          <p:cNvPr id="605" name="Straight Connector 604"/>
          <p:cNvCxnSpPr/>
          <p:nvPr/>
        </p:nvCxnSpPr>
        <p:spPr>
          <a:xfrm>
            <a:off x="10133439" y="1721147"/>
            <a:ext cx="226397" cy="132971"/>
          </a:xfrm>
          <a:prstGeom prst="line">
            <a:avLst/>
          </a:prstGeom>
          <a:noFill/>
          <a:ln w="6350" cap="flat" cmpd="sng" algn="ctr">
            <a:noFill/>
            <a:prstDash val="solid"/>
            <a:miter lim="800000"/>
          </a:ln>
          <a:effectLst/>
        </p:spPr>
      </p:cxnSp>
      <p:cxnSp>
        <p:nvCxnSpPr>
          <p:cNvPr id="606" name="Straight Connector 605"/>
          <p:cNvCxnSpPr/>
          <p:nvPr/>
        </p:nvCxnSpPr>
        <p:spPr>
          <a:xfrm>
            <a:off x="10356153" y="1848412"/>
            <a:ext cx="226397" cy="132971"/>
          </a:xfrm>
          <a:prstGeom prst="line">
            <a:avLst/>
          </a:prstGeom>
          <a:noFill/>
          <a:ln w="6350" cap="flat" cmpd="sng" algn="ctr">
            <a:noFill/>
            <a:prstDash val="solid"/>
            <a:miter lim="800000"/>
          </a:ln>
          <a:effectLst/>
        </p:spPr>
      </p:cxnSp>
      <p:cxnSp>
        <p:nvCxnSpPr>
          <p:cNvPr id="607" name="Straight Connector 606"/>
          <p:cNvCxnSpPr/>
          <p:nvPr/>
        </p:nvCxnSpPr>
        <p:spPr>
          <a:xfrm flipH="1">
            <a:off x="10356153" y="1987090"/>
            <a:ext cx="226397" cy="132971"/>
          </a:xfrm>
          <a:prstGeom prst="line">
            <a:avLst/>
          </a:prstGeom>
          <a:noFill/>
          <a:ln w="6350" cap="flat" cmpd="sng" algn="ctr">
            <a:noFill/>
            <a:prstDash val="solid"/>
            <a:miter lim="800000"/>
          </a:ln>
          <a:effectLst/>
        </p:spPr>
      </p:cxnSp>
      <p:cxnSp>
        <p:nvCxnSpPr>
          <p:cNvPr id="608" name="Straight Connector 607"/>
          <p:cNvCxnSpPr/>
          <p:nvPr/>
        </p:nvCxnSpPr>
        <p:spPr>
          <a:xfrm>
            <a:off x="10356154" y="1859825"/>
            <a:ext cx="32" cy="263319"/>
          </a:xfrm>
          <a:prstGeom prst="line">
            <a:avLst/>
          </a:prstGeom>
          <a:noFill/>
          <a:ln w="6350" cap="flat" cmpd="sng" algn="ctr">
            <a:noFill/>
            <a:prstDash val="solid"/>
            <a:miter lim="800000"/>
          </a:ln>
          <a:effectLst/>
        </p:spPr>
      </p:cxnSp>
      <p:cxnSp>
        <p:nvCxnSpPr>
          <p:cNvPr id="609" name="Straight Connector 608"/>
          <p:cNvCxnSpPr/>
          <p:nvPr/>
        </p:nvCxnSpPr>
        <p:spPr>
          <a:xfrm flipV="1">
            <a:off x="10129789" y="1854118"/>
            <a:ext cx="226364" cy="127265"/>
          </a:xfrm>
          <a:prstGeom prst="line">
            <a:avLst/>
          </a:prstGeom>
          <a:noFill/>
          <a:ln w="6350" cap="flat" cmpd="sng" algn="ctr">
            <a:noFill/>
            <a:prstDash val="solid"/>
            <a:miter lim="800000"/>
          </a:ln>
          <a:effectLst/>
        </p:spPr>
      </p:cxnSp>
      <p:cxnSp>
        <p:nvCxnSpPr>
          <p:cNvPr id="610" name="Straight Connector 609"/>
          <p:cNvCxnSpPr/>
          <p:nvPr/>
        </p:nvCxnSpPr>
        <p:spPr>
          <a:xfrm flipV="1">
            <a:off x="10356153" y="1715440"/>
            <a:ext cx="226397" cy="144383"/>
          </a:xfrm>
          <a:prstGeom prst="line">
            <a:avLst/>
          </a:prstGeom>
          <a:noFill/>
          <a:ln w="6350" cap="flat" cmpd="sng" algn="ctr">
            <a:noFill/>
            <a:prstDash val="solid"/>
            <a:miter lim="800000"/>
          </a:ln>
          <a:effectLst/>
        </p:spPr>
      </p:cxnSp>
      <p:cxnSp>
        <p:nvCxnSpPr>
          <p:cNvPr id="611" name="Straight Connector 610"/>
          <p:cNvCxnSpPr/>
          <p:nvPr/>
        </p:nvCxnSpPr>
        <p:spPr>
          <a:xfrm>
            <a:off x="10133422" y="1749743"/>
            <a:ext cx="32" cy="263319"/>
          </a:xfrm>
          <a:prstGeom prst="line">
            <a:avLst/>
          </a:prstGeom>
          <a:noFill/>
          <a:ln w="6350" cap="flat" cmpd="sng" algn="ctr">
            <a:noFill/>
            <a:prstDash val="solid"/>
            <a:miter lim="800000"/>
          </a:ln>
          <a:effectLst/>
        </p:spPr>
      </p:cxnSp>
      <p:sp>
        <p:nvSpPr>
          <p:cNvPr id="612" name="Hexagon 611"/>
          <p:cNvSpPr/>
          <p:nvPr/>
        </p:nvSpPr>
        <p:spPr>
          <a:xfrm>
            <a:off x="10451117"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13" name="Hexagon 612"/>
          <p:cNvSpPr/>
          <p:nvPr/>
        </p:nvSpPr>
        <p:spPr>
          <a:xfrm>
            <a:off x="10677514"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14" name="Hexagon 613"/>
          <p:cNvSpPr/>
          <p:nvPr/>
        </p:nvSpPr>
        <p:spPr>
          <a:xfrm>
            <a:off x="10451117"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15" name="Hexagon 614"/>
          <p:cNvSpPr/>
          <p:nvPr/>
        </p:nvSpPr>
        <p:spPr>
          <a:xfrm>
            <a:off x="10677514"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616" name="Straight Connector 615"/>
          <p:cNvCxnSpPr/>
          <p:nvPr/>
        </p:nvCxnSpPr>
        <p:spPr>
          <a:xfrm>
            <a:off x="10585872" y="1987090"/>
            <a:ext cx="226397" cy="132971"/>
          </a:xfrm>
          <a:prstGeom prst="line">
            <a:avLst/>
          </a:prstGeom>
          <a:noFill/>
          <a:ln w="6350" cap="flat" cmpd="sng" algn="ctr">
            <a:noFill/>
            <a:prstDash val="solid"/>
            <a:miter lim="800000"/>
          </a:ln>
          <a:effectLst/>
        </p:spPr>
      </p:cxnSp>
      <p:cxnSp>
        <p:nvCxnSpPr>
          <p:cNvPr id="617" name="Straight Connector 616"/>
          <p:cNvCxnSpPr/>
          <p:nvPr/>
        </p:nvCxnSpPr>
        <p:spPr>
          <a:xfrm>
            <a:off x="10585872" y="1721147"/>
            <a:ext cx="226397" cy="132971"/>
          </a:xfrm>
          <a:prstGeom prst="line">
            <a:avLst/>
          </a:prstGeom>
          <a:noFill/>
          <a:ln w="6350" cap="flat" cmpd="sng" algn="ctr">
            <a:noFill/>
            <a:prstDash val="solid"/>
            <a:miter lim="800000"/>
          </a:ln>
          <a:effectLst/>
        </p:spPr>
      </p:cxnSp>
      <p:cxnSp>
        <p:nvCxnSpPr>
          <p:cNvPr id="618" name="Straight Connector 617"/>
          <p:cNvCxnSpPr/>
          <p:nvPr/>
        </p:nvCxnSpPr>
        <p:spPr>
          <a:xfrm>
            <a:off x="10808586" y="1848412"/>
            <a:ext cx="226397" cy="132971"/>
          </a:xfrm>
          <a:prstGeom prst="line">
            <a:avLst/>
          </a:prstGeom>
          <a:noFill/>
          <a:ln w="6350" cap="flat" cmpd="sng" algn="ctr">
            <a:noFill/>
            <a:prstDash val="solid"/>
            <a:miter lim="800000"/>
          </a:ln>
          <a:effectLst/>
        </p:spPr>
      </p:cxnSp>
      <p:cxnSp>
        <p:nvCxnSpPr>
          <p:cNvPr id="619" name="Straight Connector 618"/>
          <p:cNvCxnSpPr/>
          <p:nvPr/>
        </p:nvCxnSpPr>
        <p:spPr>
          <a:xfrm flipH="1">
            <a:off x="10808586" y="1987090"/>
            <a:ext cx="226397" cy="132971"/>
          </a:xfrm>
          <a:prstGeom prst="line">
            <a:avLst/>
          </a:prstGeom>
          <a:noFill/>
          <a:ln w="6350" cap="flat" cmpd="sng" algn="ctr">
            <a:noFill/>
            <a:prstDash val="solid"/>
            <a:miter lim="800000"/>
          </a:ln>
          <a:effectLst/>
        </p:spPr>
      </p:cxnSp>
      <p:cxnSp>
        <p:nvCxnSpPr>
          <p:cNvPr id="620" name="Straight Connector 619"/>
          <p:cNvCxnSpPr/>
          <p:nvPr/>
        </p:nvCxnSpPr>
        <p:spPr>
          <a:xfrm>
            <a:off x="10808587" y="1859825"/>
            <a:ext cx="32" cy="263319"/>
          </a:xfrm>
          <a:prstGeom prst="line">
            <a:avLst/>
          </a:prstGeom>
          <a:noFill/>
          <a:ln w="6350" cap="flat" cmpd="sng" algn="ctr">
            <a:noFill/>
            <a:prstDash val="solid"/>
            <a:miter lim="800000"/>
          </a:ln>
          <a:effectLst/>
        </p:spPr>
      </p:cxnSp>
      <p:cxnSp>
        <p:nvCxnSpPr>
          <p:cNvPr id="621" name="Straight Connector 620"/>
          <p:cNvCxnSpPr/>
          <p:nvPr/>
        </p:nvCxnSpPr>
        <p:spPr>
          <a:xfrm flipV="1">
            <a:off x="10582222" y="1854118"/>
            <a:ext cx="226364" cy="127265"/>
          </a:xfrm>
          <a:prstGeom prst="line">
            <a:avLst/>
          </a:prstGeom>
          <a:noFill/>
          <a:ln w="6350" cap="flat" cmpd="sng" algn="ctr">
            <a:noFill/>
            <a:prstDash val="solid"/>
            <a:miter lim="800000"/>
          </a:ln>
          <a:effectLst/>
        </p:spPr>
      </p:cxnSp>
      <p:cxnSp>
        <p:nvCxnSpPr>
          <p:cNvPr id="622" name="Straight Connector 621"/>
          <p:cNvCxnSpPr/>
          <p:nvPr/>
        </p:nvCxnSpPr>
        <p:spPr>
          <a:xfrm flipV="1">
            <a:off x="10808586" y="1715440"/>
            <a:ext cx="226397" cy="144383"/>
          </a:xfrm>
          <a:prstGeom prst="line">
            <a:avLst/>
          </a:prstGeom>
          <a:noFill/>
          <a:ln w="6350" cap="flat" cmpd="sng" algn="ctr">
            <a:noFill/>
            <a:prstDash val="solid"/>
            <a:miter lim="800000"/>
          </a:ln>
          <a:effectLst/>
        </p:spPr>
      </p:cxnSp>
      <p:cxnSp>
        <p:nvCxnSpPr>
          <p:cNvPr id="623" name="Straight Connector 622"/>
          <p:cNvCxnSpPr/>
          <p:nvPr/>
        </p:nvCxnSpPr>
        <p:spPr>
          <a:xfrm>
            <a:off x="10585856" y="1745283"/>
            <a:ext cx="32" cy="263319"/>
          </a:xfrm>
          <a:prstGeom prst="line">
            <a:avLst/>
          </a:prstGeom>
          <a:noFill/>
          <a:ln w="6350" cap="flat" cmpd="sng" algn="ctr">
            <a:noFill/>
            <a:prstDash val="solid"/>
            <a:miter lim="800000"/>
          </a:ln>
          <a:effectLst/>
        </p:spPr>
      </p:cxnSp>
      <p:sp>
        <p:nvSpPr>
          <p:cNvPr id="624" name="Hexagon 623"/>
          <p:cNvSpPr/>
          <p:nvPr/>
        </p:nvSpPr>
        <p:spPr>
          <a:xfrm>
            <a:off x="10901113" y="1604051"/>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25" name="Hexagon 624"/>
          <p:cNvSpPr/>
          <p:nvPr/>
        </p:nvSpPr>
        <p:spPr>
          <a:xfrm>
            <a:off x="11127511" y="173256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26" name="Hexagon 625"/>
          <p:cNvSpPr/>
          <p:nvPr/>
        </p:nvSpPr>
        <p:spPr>
          <a:xfrm>
            <a:off x="10901113" y="1865532"/>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sp>
        <p:nvSpPr>
          <p:cNvPr id="627" name="Hexagon 626"/>
          <p:cNvSpPr/>
          <p:nvPr/>
        </p:nvSpPr>
        <p:spPr>
          <a:xfrm>
            <a:off x="11127511" y="1994043"/>
            <a:ext cx="269510" cy="243116"/>
          </a:xfrm>
          <a:prstGeom prst="hexagon">
            <a:avLst/>
          </a:prstGeom>
          <a:solidFill>
            <a:schemeClr val="tx1"/>
          </a:solidFill>
          <a:ln w="12700" cap="flat" cmpd="sng" algn="ctr">
            <a:noFill/>
            <a:prstDash val="solid"/>
            <a:miter lim="800000"/>
          </a:ln>
          <a:effectLst/>
        </p:spPr>
        <p:txBody>
          <a:bodyPr rtlCol="0" anchor="ctr"/>
          <a:lstStyle/>
          <a:p>
            <a:pPr algn="ctr" defTabSz="896386">
              <a:defRPr/>
            </a:pPr>
            <a:endParaRPr lang="en-US" sz="1765" kern="0">
              <a:solidFill>
                <a:srgbClr val="FFFFFF"/>
              </a:solidFill>
              <a:latin typeface="Calibri" panose="020F0502020204030204"/>
            </a:endParaRPr>
          </a:p>
        </p:txBody>
      </p:sp>
      <p:cxnSp>
        <p:nvCxnSpPr>
          <p:cNvPr id="628" name="Straight Connector 627"/>
          <p:cNvCxnSpPr/>
          <p:nvPr/>
        </p:nvCxnSpPr>
        <p:spPr>
          <a:xfrm>
            <a:off x="11035869" y="1987090"/>
            <a:ext cx="226397" cy="132971"/>
          </a:xfrm>
          <a:prstGeom prst="line">
            <a:avLst/>
          </a:prstGeom>
          <a:noFill/>
          <a:ln w="6350" cap="flat" cmpd="sng" algn="ctr">
            <a:noFill/>
            <a:prstDash val="solid"/>
            <a:miter lim="800000"/>
          </a:ln>
          <a:effectLst/>
        </p:spPr>
      </p:cxnSp>
      <p:cxnSp>
        <p:nvCxnSpPr>
          <p:cNvPr id="629" name="Straight Connector 628"/>
          <p:cNvCxnSpPr/>
          <p:nvPr/>
        </p:nvCxnSpPr>
        <p:spPr>
          <a:xfrm>
            <a:off x="11035869" y="1721147"/>
            <a:ext cx="226397" cy="132971"/>
          </a:xfrm>
          <a:prstGeom prst="line">
            <a:avLst/>
          </a:prstGeom>
          <a:noFill/>
          <a:ln w="6350" cap="flat" cmpd="sng" algn="ctr">
            <a:noFill/>
            <a:prstDash val="solid"/>
            <a:miter lim="800000"/>
          </a:ln>
          <a:effectLst/>
        </p:spPr>
      </p:cxnSp>
      <p:cxnSp>
        <p:nvCxnSpPr>
          <p:cNvPr id="630" name="Straight Connector 629"/>
          <p:cNvCxnSpPr/>
          <p:nvPr/>
        </p:nvCxnSpPr>
        <p:spPr>
          <a:xfrm>
            <a:off x="11258584" y="1859825"/>
            <a:ext cx="32" cy="263319"/>
          </a:xfrm>
          <a:prstGeom prst="line">
            <a:avLst/>
          </a:prstGeom>
          <a:noFill/>
          <a:ln w="6350" cap="flat" cmpd="sng" algn="ctr">
            <a:noFill/>
            <a:prstDash val="solid"/>
            <a:miter lim="800000"/>
          </a:ln>
          <a:effectLst/>
        </p:spPr>
      </p:cxnSp>
      <p:cxnSp>
        <p:nvCxnSpPr>
          <p:cNvPr id="631" name="Straight Connector 630"/>
          <p:cNvCxnSpPr/>
          <p:nvPr/>
        </p:nvCxnSpPr>
        <p:spPr>
          <a:xfrm flipV="1">
            <a:off x="11032219" y="1854118"/>
            <a:ext cx="226364" cy="127265"/>
          </a:xfrm>
          <a:prstGeom prst="line">
            <a:avLst/>
          </a:prstGeom>
          <a:noFill/>
          <a:ln w="6350" cap="flat" cmpd="sng" algn="ctr">
            <a:noFill/>
            <a:prstDash val="solid"/>
            <a:miter lim="800000"/>
          </a:ln>
          <a:effectLst/>
        </p:spPr>
      </p:cxnSp>
      <p:cxnSp>
        <p:nvCxnSpPr>
          <p:cNvPr id="632" name="Straight Connector 631"/>
          <p:cNvCxnSpPr/>
          <p:nvPr/>
        </p:nvCxnSpPr>
        <p:spPr>
          <a:xfrm>
            <a:off x="11035852" y="1745283"/>
            <a:ext cx="32" cy="263319"/>
          </a:xfrm>
          <a:prstGeom prst="line">
            <a:avLst/>
          </a:prstGeom>
          <a:noFill/>
          <a:ln w="6350" cap="flat" cmpd="sng" algn="ctr">
            <a:noFill/>
            <a:prstDash val="solid"/>
            <a:miter lim="800000"/>
          </a:ln>
          <a:effectLst/>
        </p:spPr>
      </p:cxnSp>
      <p:sp>
        <p:nvSpPr>
          <p:cNvPr id="658" name="Rectangle 657"/>
          <p:cNvSpPr/>
          <p:nvPr/>
        </p:nvSpPr>
        <p:spPr>
          <a:xfrm>
            <a:off x="498095" y="3390517"/>
            <a:ext cx="10884543" cy="1869888"/>
          </a:xfrm>
          <a:prstGeom prst="rect">
            <a:avLst/>
          </a:prstGeom>
          <a:solidFill>
            <a:schemeClr val="tx2"/>
          </a:solidFill>
          <a:ln w="12700" cap="flat" cmpd="sng" algn="ctr">
            <a:noFill/>
            <a:prstDash val="solid"/>
            <a:miter lim="800000"/>
          </a:ln>
          <a:effectLst/>
        </p:spPr>
        <p:txBody>
          <a:bodyPr rtlCol="0" anchor="ctr"/>
          <a:lstStyle/>
          <a:p>
            <a:pPr algn="ctr" defTabSz="896386">
              <a:defRPr/>
            </a:pPr>
            <a:endParaRPr lang="en-US" sz="1765" b="1" kern="0">
              <a:solidFill>
                <a:schemeClr val="bg1"/>
              </a:solidFill>
              <a:latin typeface="Calibri" panose="020F0502020204030204"/>
            </a:endParaRPr>
          </a:p>
        </p:txBody>
      </p:sp>
      <p:sp>
        <p:nvSpPr>
          <p:cNvPr id="659" name="TextBox 658"/>
          <p:cNvSpPr txBox="1"/>
          <p:nvPr/>
        </p:nvSpPr>
        <p:spPr>
          <a:xfrm>
            <a:off x="573597" y="3601929"/>
            <a:ext cx="1688556" cy="362072"/>
          </a:xfrm>
          <a:prstGeom prst="rect">
            <a:avLst/>
          </a:prstGeom>
          <a:noFill/>
        </p:spPr>
        <p:txBody>
          <a:bodyPr wrap="square" rtlCol="0">
            <a:spAutoFit/>
          </a:bodyPr>
          <a:lstStyle/>
          <a:p>
            <a:pPr defTabSz="896386"/>
            <a:r>
              <a:rPr lang="en-US" sz="1765" b="1" dirty="0">
                <a:solidFill>
                  <a:schemeClr val="bg1"/>
                </a:solidFill>
                <a:latin typeface="Segoe UI Light"/>
              </a:rPr>
              <a:t>High Availability</a:t>
            </a:r>
          </a:p>
        </p:txBody>
      </p:sp>
      <p:sp>
        <p:nvSpPr>
          <p:cNvPr id="660" name="TextBox 659"/>
          <p:cNvSpPr txBox="1"/>
          <p:nvPr/>
        </p:nvSpPr>
        <p:spPr>
          <a:xfrm>
            <a:off x="586650" y="4445290"/>
            <a:ext cx="2263640" cy="362072"/>
          </a:xfrm>
          <a:prstGeom prst="rect">
            <a:avLst/>
          </a:prstGeom>
          <a:noFill/>
        </p:spPr>
        <p:txBody>
          <a:bodyPr wrap="square" rtlCol="0">
            <a:spAutoFit/>
          </a:bodyPr>
          <a:lstStyle/>
          <a:p>
            <a:pPr defTabSz="896386"/>
            <a:r>
              <a:rPr lang="en-US" sz="1765" b="1" dirty="0">
                <a:solidFill>
                  <a:schemeClr val="bg1"/>
                </a:solidFill>
                <a:latin typeface="Segoe UI Light"/>
              </a:rPr>
              <a:t>Hyper-Scale</a:t>
            </a:r>
          </a:p>
        </p:txBody>
      </p:sp>
      <p:sp>
        <p:nvSpPr>
          <p:cNvPr id="661" name="TextBox 660"/>
          <p:cNvSpPr txBox="1"/>
          <p:nvPr/>
        </p:nvSpPr>
        <p:spPr>
          <a:xfrm>
            <a:off x="2702746" y="3577046"/>
            <a:ext cx="2223479" cy="362072"/>
          </a:xfrm>
          <a:prstGeom prst="rect">
            <a:avLst/>
          </a:prstGeom>
          <a:noFill/>
        </p:spPr>
        <p:txBody>
          <a:bodyPr wrap="square" rtlCol="0">
            <a:spAutoFit/>
          </a:bodyPr>
          <a:lstStyle/>
          <a:p>
            <a:pPr defTabSz="896386"/>
            <a:r>
              <a:rPr lang="en-US" sz="1765" b="1" dirty="0">
                <a:solidFill>
                  <a:schemeClr val="bg1"/>
                </a:solidFill>
                <a:latin typeface="Segoe UI Light"/>
              </a:rPr>
              <a:t>Hybrid Operations</a:t>
            </a:r>
          </a:p>
        </p:txBody>
      </p:sp>
      <p:sp>
        <p:nvSpPr>
          <p:cNvPr id="662" name="TextBox 661"/>
          <p:cNvSpPr txBox="1"/>
          <p:nvPr/>
        </p:nvSpPr>
        <p:spPr>
          <a:xfrm>
            <a:off x="1077461" y="4052842"/>
            <a:ext cx="1697436" cy="362072"/>
          </a:xfrm>
          <a:prstGeom prst="rect">
            <a:avLst/>
          </a:prstGeom>
          <a:noFill/>
        </p:spPr>
        <p:txBody>
          <a:bodyPr wrap="square" rtlCol="0">
            <a:spAutoFit/>
          </a:bodyPr>
          <a:lstStyle/>
          <a:p>
            <a:pPr defTabSz="896386"/>
            <a:r>
              <a:rPr lang="en-US" sz="1765" b="1" dirty="0">
                <a:solidFill>
                  <a:schemeClr val="bg1"/>
                </a:solidFill>
                <a:latin typeface="Segoe UI Light"/>
              </a:rPr>
              <a:t>High Density</a:t>
            </a:r>
          </a:p>
        </p:txBody>
      </p:sp>
      <p:sp>
        <p:nvSpPr>
          <p:cNvPr id="663" name="TextBox 662"/>
          <p:cNvSpPr txBox="1"/>
          <p:nvPr/>
        </p:nvSpPr>
        <p:spPr>
          <a:xfrm>
            <a:off x="2906828" y="4031837"/>
            <a:ext cx="2300089" cy="362072"/>
          </a:xfrm>
          <a:prstGeom prst="rect">
            <a:avLst/>
          </a:prstGeom>
          <a:noFill/>
        </p:spPr>
        <p:txBody>
          <a:bodyPr wrap="square" rtlCol="0">
            <a:spAutoFit/>
          </a:bodyPr>
          <a:lstStyle/>
          <a:p>
            <a:pPr defTabSz="896386"/>
            <a:r>
              <a:rPr lang="en-US" sz="1765" b="1" dirty="0">
                <a:solidFill>
                  <a:schemeClr val="bg1"/>
                </a:solidFill>
                <a:latin typeface="Segoe UI Light"/>
              </a:rPr>
              <a:t>Rolling Upgrades</a:t>
            </a:r>
          </a:p>
        </p:txBody>
      </p:sp>
      <p:sp>
        <p:nvSpPr>
          <p:cNvPr id="664" name="TextBox 663"/>
          <p:cNvSpPr txBox="1"/>
          <p:nvPr/>
        </p:nvSpPr>
        <p:spPr>
          <a:xfrm>
            <a:off x="4954597" y="4028624"/>
            <a:ext cx="1910508" cy="362072"/>
          </a:xfrm>
          <a:prstGeom prst="rect">
            <a:avLst/>
          </a:prstGeom>
          <a:noFill/>
        </p:spPr>
        <p:txBody>
          <a:bodyPr wrap="square" rtlCol="0">
            <a:spAutoFit/>
          </a:bodyPr>
          <a:lstStyle/>
          <a:p>
            <a:pPr defTabSz="896386"/>
            <a:r>
              <a:rPr lang="en-US" sz="1765" b="1" dirty="0" err="1">
                <a:solidFill>
                  <a:schemeClr val="bg1"/>
                </a:solidFill>
                <a:latin typeface="Segoe UI Light"/>
              </a:rPr>
              <a:t>Stateful</a:t>
            </a:r>
            <a:r>
              <a:rPr lang="en-US" sz="1765" b="1" dirty="0">
                <a:solidFill>
                  <a:schemeClr val="bg1"/>
                </a:solidFill>
                <a:latin typeface="Segoe UI Light"/>
              </a:rPr>
              <a:t> services</a:t>
            </a:r>
          </a:p>
        </p:txBody>
      </p:sp>
      <p:sp>
        <p:nvSpPr>
          <p:cNvPr id="665" name="TextBox 664"/>
          <p:cNvSpPr txBox="1"/>
          <p:nvPr/>
        </p:nvSpPr>
        <p:spPr>
          <a:xfrm>
            <a:off x="6854410" y="4025533"/>
            <a:ext cx="1827933" cy="362072"/>
          </a:xfrm>
          <a:prstGeom prst="rect">
            <a:avLst/>
          </a:prstGeom>
          <a:noFill/>
        </p:spPr>
        <p:txBody>
          <a:bodyPr wrap="square" rtlCol="0">
            <a:spAutoFit/>
          </a:bodyPr>
          <a:lstStyle/>
          <a:p>
            <a:pPr defTabSz="896386"/>
            <a:r>
              <a:rPr lang="en-US" sz="1765" b="1" dirty="0">
                <a:solidFill>
                  <a:schemeClr val="bg1"/>
                </a:solidFill>
                <a:latin typeface="Segoe UI Light"/>
              </a:rPr>
              <a:t>Low Latency</a:t>
            </a:r>
          </a:p>
        </p:txBody>
      </p:sp>
      <p:sp>
        <p:nvSpPr>
          <p:cNvPr id="666" name="TextBox 665"/>
          <p:cNvSpPr txBox="1"/>
          <p:nvPr/>
        </p:nvSpPr>
        <p:spPr>
          <a:xfrm>
            <a:off x="8516906" y="4859778"/>
            <a:ext cx="2658835" cy="362072"/>
          </a:xfrm>
          <a:prstGeom prst="rect">
            <a:avLst/>
          </a:prstGeom>
          <a:noFill/>
        </p:spPr>
        <p:txBody>
          <a:bodyPr wrap="square" rtlCol="0">
            <a:spAutoFit/>
          </a:bodyPr>
          <a:lstStyle/>
          <a:p>
            <a:pPr algn="ctr" defTabSz="896386"/>
            <a:r>
              <a:rPr lang="en-US" sz="1765" b="1" dirty="0">
                <a:solidFill>
                  <a:schemeClr val="bg1"/>
                </a:solidFill>
                <a:latin typeface="Segoe UI Light"/>
              </a:rPr>
              <a:t>Fast startup &amp; shutdown</a:t>
            </a:r>
          </a:p>
        </p:txBody>
      </p:sp>
      <p:sp>
        <p:nvSpPr>
          <p:cNvPr id="667" name="TextBox 666"/>
          <p:cNvSpPr txBox="1"/>
          <p:nvPr/>
        </p:nvSpPr>
        <p:spPr>
          <a:xfrm>
            <a:off x="4324467" y="4425907"/>
            <a:ext cx="5320575" cy="362072"/>
          </a:xfrm>
          <a:prstGeom prst="rect">
            <a:avLst/>
          </a:prstGeom>
          <a:noFill/>
        </p:spPr>
        <p:txBody>
          <a:bodyPr wrap="square" rtlCol="0">
            <a:spAutoFit/>
          </a:bodyPr>
          <a:lstStyle/>
          <a:p>
            <a:pPr defTabSz="896386"/>
            <a:r>
              <a:rPr lang="en-US" sz="1765" b="1" dirty="0">
                <a:solidFill>
                  <a:schemeClr val="bg1"/>
                </a:solidFill>
                <a:latin typeface="Segoe UI Light"/>
              </a:rPr>
              <a:t>Container Orchestration &amp; lifecycle management</a:t>
            </a:r>
          </a:p>
        </p:txBody>
      </p:sp>
      <p:sp>
        <p:nvSpPr>
          <p:cNvPr id="668" name="TextBox 667"/>
          <p:cNvSpPr txBox="1"/>
          <p:nvPr/>
        </p:nvSpPr>
        <p:spPr>
          <a:xfrm>
            <a:off x="8540778" y="3969812"/>
            <a:ext cx="2381006" cy="362072"/>
          </a:xfrm>
          <a:prstGeom prst="rect">
            <a:avLst/>
          </a:prstGeom>
          <a:noFill/>
        </p:spPr>
        <p:txBody>
          <a:bodyPr wrap="square" rtlCol="0">
            <a:spAutoFit/>
          </a:bodyPr>
          <a:lstStyle/>
          <a:p>
            <a:pPr algn="ctr" defTabSz="896386"/>
            <a:r>
              <a:rPr lang="en-US" sz="1765" b="1" dirty="0">
                <a:solidFill>
                  <a:schemeClr val="bg1"/>
                </a:solidFill>
                <a:latin typeface="Segoe UI Light"/>
              </a:rPr>
              <a:t>Replication &amp; Failover</a:t>
            </a:r>
          </a:p>
        </p:txBody>
      </p:sp>
      <p:sp>
        <p:nvSpPr>
          <p:cNvPr id="669" name="TextBox 668"/>
          <p:cNvSpPr txBox="1"/>
          <p:nvPr/>
        </p:nvSpPr>
        <p:spPr>
          <a:xfrm>
            <a:off x="710601" y="4848339"/>
            <a:ext cx="3131093" cy="362072"/>
          </a:xfrm>
          <a:prstGeom prst="rect">
            <a:avLst/>
          </a:prstGeom>
          <a:noFill/>
        </p:spPr>
        <p:txBody>
          <a:bodyPr wrap="square" rtlCol="0">
            <a:spAutoFit/>
          </a:bodyPr>
          <a:lstStyle/>
          <a:p>
            <a:pPr algn="ctr" defTabSz="896386"/>
            <a:r>
              <a:rPr lang="en-US" sz="1765" b="1" dirty="0">
                <a:solidFill>
                  <a:schemeClr val="bg1"/>
                </a:solidFill>
                <a:latin typeface="Segoe UI Light"/>
              </a:rPr>
              <a:t>Simple programming models</a:t>
            </a:r>
          </a:p>
        </p:txBody>
      </p:sp>
      <p:sp>
        <p:nvSpPr>
          <p:cNvPr id="670" name="TextBox 669"/>
          <p:cNvSpPr txBox="1"/>
          <p:nvPr/>
        </p:nvSpPr>
        <p:spPr>
          <a:xfrm>
            <a:off x="9492833" y="4411985"/>
            <a:ext cx="1953035" cy="362072"/>
          </a:xfrm>
          <a:prstGeom prst="rect">
            <a:avLst/>
          </a:prstGeom>
          <a:noFill/>
        </p:spPr>
        <p:txBody>
          <a:bodyPr wrap="square" rtlCol="0">
            <a:spAutoFit/>
          </a:bodyPr>
          <a:lstStyle/>
          <a:p>
            <a:pPr defTabSz="896386"/>
            <a:r>
              <a:rPr lang="en-US" sz="1765" b="1" dirty="0">
                <a:solidFill>
                  <a:schemeClr val="bg1"/>
                </a:solidFill>
                <a:latin typeface="Segoe UI Light"/>
              </a:rPr>
              <a:t>Load balancing</a:t>
            </a:r>
          </a:p>
        </p:txBody>
      </p:sp>
      <p:sp>
        <p:nvSpPr>
          <p:cNvPr id="671" name="TextBox 670"/>
          <p:cNvSpPr txBox="1"/>
          <p:nvPr/>
        </p:nvSpPr>
        <p:spPr>
          <a:xfrm>
            <a:off x="9915938" y="3564799"/>
            <a:ext cx="1376294" cy="362072"/>
          </a:xfrm>
          <a:prstGeom prst="rect">
            <a:avLst/>
          </a:prstGeom>
          <a:noFill/>
        </p:spPr>
        <p:txBody>
          <a:bodyPr wrap="square" rtlCol="0">
            <a:spAutoFit/>
          </a:bodyPr>
          <a:lstStyle/>
          <a:p>
            <a:pPr defTabSz="896386"/>
            <a:r>
              <a:rPr lang="en-US" sz="1765" b="1" dirty="0">
                <a:solidFill>
                  <a:schemeClr val="bg1"/>
                </a:solidFill>
                <a:latin typeface="Segoe UI Light"/>
              </a:rPr>
              <a:t>Self-healing</a:t>
            </a:r>
          </a:p>
        </p:txBody>
      </p:sp>
      <p:sp>
        <p:nvSpPr>
          <p:cNvPr id="672" name="TextBox 671"/>
          <p:cNvSpPr txBox="1"/>
          <p:nvPr/>
        </p:nvSpPr>
        <p:spPr>
          <a:xfrm>
            <a:off x="2276148" y="4459101"/>
            <a:ext cx="1788890" cy="362072"/>
          </a:xfrm>
          <a:prstGeom prst="rect">
            <a:avLst/>
          </a:prstGeom>
          <a:noFill/>
        </p:spPr>
        <p:txBody>
          <a:bodyPr wrap="square" rtlCol="0">
            <a:spAutoFit/>
          </a:bodyPr>
          <a:lstStyle/>
          <a:p>
            <a:pPr defTabSz="896386"/>
            <a:r>
              <a:rPr lang="en-US" sz="1765" b="1" dirty="0">
                <a:solidFill>
                  <a:schemeClr val="bg1"/>
                </a:solidFill>
                <a:latin typeface="Segoe UI Light"/>
              </a:rPr>
              <a:t>Data Partitioning</a:t>
            </a:r>
          </a:p>
        </p:txBody>
      </p:sp>
      <p:sp>
        <p:nvSpPr>
          <p:cNvPr id="673" name="TextBox 672"/>
          <p:cNvSpPr txBox="1"/>
          <p:nvPr/>
        </p:nvSpPr>
        <p:spPr>
          <a:xfrm>
            <a:off x="3928977" y="4848339"/>
            <a:ext cx="2375909" cy="362072"/>
          </a:xfrm>
          <a:prstGeom prst="rect">
            <a:avLst/>
          </a:prstGeom>
          <a:noFill/>
        </p:spPr>
        <p:txBody>
          <a:bodyPr wrap="square" rtlCol="0">
            <a:spAutoFit/>
          </a:bodyPr>
          <a:lstStyle/>
          <a:p>
            <a:pPr defTabSz="896386"/>
            <a:r>
              <a:rPr lang="en-US" sz="1765" b="1" dirty="0">
                <a:solidFill>
                  <a:schemeClr val="bg1"/>
                </a:solidFill>
                <a:latin typeface="Segoe UI Light"/>
              </a:rPr>
              <a:t>Automated Rollback</a:t>
            </a:r>
          </a:p>
        </p:txBody>
      </p:sp>
      <p:sp>
        <p:nvSpPr>
          <p:cNvPr id="674" name="TextBox 673"/>
          <p:cNvSpPr txBox="1"/>
          <p:nvPr/>
        </p:nvSpPr>
        <p:spPr>
          <a:xfrm>
            <a:off x="7264004" y="3536798"/>
            <a:ext cx="2319445" cy="362072"/>
          </a:xfrm>
          <a:prstGeom prst="rect">
            <a:avLst/>
          </a:prstGeom>
          <a:noFill/>
        </p:spPr>
        <p:txBody>
          <a:bodyPr wrap="square" rtlCol="0">
            <a:spAutoFit/>
          </a:bodyPr>
          <a:lstStyle/>
          <a:p>
            <a:pPr algn="ctr" defTabSz="896386"/>
            <a:r>
              <a:rPr lang="en-US" sz="1765" b="1" dirty="0">
                <a:solidFill>
                  <a:schemeClr val="bg1"/>
                </a:solidFill>
                <a:latin typeface="Segoe UI Light"/>
              </a:rPr>
              <a:t>Health Monitoring</a:t>
            </a:r>
          </a:p>
        </p:txBody>
      </p:sp>
      <p:sp>
        <p:nvSpPr>
          <p:cNvPr id="675" name="TextBox 674"/>
          <p:cNvSpPr txBox="1"/>
          <p:nvPr/>
        </p:nvSpPr>
        <p:spPr>
          <a:xfrm>
            <a:off x="6195203" y="4852721"/>
            <a:ext cx="2295150" cy="362072"/>
          </a:xfrm>
          <a:prstGeom prst="rect">
            <a:avLst/>
          </a:prstGeom>
          <a:noFill/>
        </p:spPr>
        <p:txBody>
          <a:bodyPr wrap="square" rtlCol="0">
            <a:spAutoFit/>
          </a:bodyPr>
          <a:lstStyle/>
          <a:p>
            <a:pPr defTabSz="896386"/>
            <a:r>
              <a:rPr lang="en-US" sz="1765" b="1" dirty="0">
                <a:solidFill>
                  <a:schemeClr val="bg1"/>
                </a:solidFill>
                <a:latin typeface="Segoe UI Light"/>
              </a:rPr>
              <a:t>Placement Constraints</a:t>
            </a:r>
          </a:p>
        </p:txBody>
      </p:sp>
      <p:sp>
        <p:nvSpPr>
          <p:cNvPr id="676" name="TextBox 675"/>
          <p:cNvSpPr txBox="1"/>
          <p:nvPr/>
        </p:nvSpPr>
        <p:spPr>
          <a:xfrm>
            <a:off x="4478019" y="3325571"/>
            <a:ext cx="3302242" cy="707886"/>
          </a:xfrm>
          <a:prstGeom prst="rect">
            <a:avLst/>
          </a:prstGeom>
          <a:noFill/>
        </p:spPr>
        <p:txBody>
          <a:bodyPr wrap="square" rtlCol="0">
            <a:spAutoFit/>
          </a:bodyPr>
          <a:lstStyle/>
          <a:p>
            <a:pPr defTabSz="896386"/>
            <a:r>
              <a:rPr lang="en-US" sz="4000" b="1" dirty="0">
                <a:solidFill>
                  <a:schemeClr val="bg1"/>
                </a:solidFill>
                <a:latin typeface="Segoe UI Light"/>
              </a:rPr>
              <a:t>Service Fabric</a:t>
            </a:r>
          </a:p>
        </p:txBody>
      </p:sp>
      <p:sp>
        <p:nvSpPr>
          <p:cNvPr id="3" name="Rectangle 2"/>
          <p:cNvSpPr/>
          <p:nvPr/>
        </p:nvSpPr>
        <p:spPr bwMode="auto">
          <a:xfrm>
            <a:off x="555130" y="2383668"/>
            <a:ext cx="5285605" cy="82560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ctr" anchorCtr="0"/>
          <a:lstStyle/>
          <a:p>
            <a:pPr algn="ctr" defTabSz="914038"/>
            <a:r>
              <a:rPr lang="en-US" sz="2353" dirty="0">
                <a:solidFill>
                  <a:schemeClr val="bg1"/>
                </a:solidFill>
                <a:ea typeface="Segoe UI" pitchFamily="34" charset="0"/>
                <a:cs typeface="Segoe UI" pitchFamily="34" charset="0"/>
              </a:rPr>
              <a:t>Reliable Actors API</a:t>
            </a:r>
          </a:p>
        </p:txBody>
      </p:sp>
      <p:sp>
        <p:nvSpPr>
          <p:cNvPr id="313" name="Rectangle 312"/>
          <p:cNvSpPr/>
          <p:nvPr/>
        </p:nvSpPr>
        <p:spPr bwMode="auto">
          <a:xfrm>
            <a:off x="6039540" y="2378497"/>
            <a:ext cx="5285605" cy="82560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ctr" anchorCtr="0"/>
          <a:lstStyle/>
          <a:p>
            <a:pPr algn="ctr" defTabSz="914038"/>
            <a:r>
              <a:rPr lang="en-US" sz="2353" dirty="0">
                <a:solidFill>
                  <a:schemeClr val="bg1"/>
                </a:solidFill>
                <a:ea typeface="Segoe UI" pitchFamily="34" charset="0"/>
                <a:cs typeface="Segoe UI" pitchFamily="34" charset="0"/>
              </a:rPr>
              <a:t>Reliable Services API</a:t>
            </a:r>
          </a:p>
        </p:txBody>
      </p:sp>
    </p:spTree>
    <p:extLst>
      <p:ext uri="{BB962C8B-B14F-4D97-AF65-F5344CB8AC3E}">
        <p14:creationId xmlns:p14="http://schemas.microsoft.com/office/powerpoint/2010/main" val="3060453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75000"/>
            <a:lumOff val="25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Battle-hardened for over 5 years</a:t>
            </a:r>
            <a:endParaRPr lang="en-US" dirty="0">
              <a:solidFill>
                <a:schemeClr val="bg1"/>
              </a:solidFill>
            </a:endParaRPr>
          </a:p>
        </p:txBody>
      </p:sp>
      <p:pic>
        <p:nvPicPr>
          <p:cNvPr id="11" name="Picture 10"/>
          <p:cNvPicPr>
            <a:picLocks noChangeAspect="1"/>
          </p:cNvPicPr>
          <p:nvPr/>
        </p:nvPicPr>
        <p:blipFill>
          <a:blip r:embed="rId3"/>
          <a:stretch>
            <a:fillRect/>
          </a:stretch>
        </p:blipFill>
        <p:spPr>
          <a:xfrm>
            <a:off x="8038254" y="5221850"/>
            <a:ext cx="4116673" cy="1540146"/>
          </a:xfrm>
          <a:prstGeom prst="rect">
            <a:avLst/>
          </a:prstGeom>
        </p:spPr>
      </p:pic>
      <p:sp>
        <p:nvSpPr>
          <p:cNvPr id="2" name="Hexagon 1"/>
          <p:cNvSpPr/>
          <p:nvPr/>
        </p:nvSpPr>
        <p:spPr bwMode="auto">
          <a:xfrm>
            <a:off x="187434" y="1412045"/>
            <a:ext cx="3313514" cy="2762421"/>
          </a:xfrm>
          <a:prstGeom prst="hexagon">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Core Infrastructure</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thousands of machines</a:t>
            </a:r>
          </a:p>
        </p:txBody>
      </p:sp>
      <p:sp>
        <p:nvSpPr>
          <p:cNvPr id="24" name="Hexagon 23"/>
          <p:cNvSpPr/>
          <p:nvPr/>
        </p:nvSpPr>
        <p:spPr bwMode="auto">
          <a:xfrm>
            <a:off x="386313" y="4624233"/>
            <a:ext cx="1904060" cy="1692827"/>
          </a:xfrm>
          <a:prstGeom prst="hexagon">
            <a:avLst/>
          </a:prstGeom>
          <a:solidFill>
            <a:srgbClr val="6A14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Power BI</a:t>
            </a:r>
          </a:p>
        </p:txBody>
      </p:sp>
      <p:sp>
        <p:nvSpPr>
          <p:cNvPr id="25" name="Hexagon 24"/>
          <p:cNvSpPr/>
          <p:nvPr/>
        </p:nvSpPr>
        <p:spPr bwMode="auto">
          <a:xfrm>
            <a:off x="6394808" y="1140913"/>
            <a:ext cx="2315764" cy="1969490"/>
          </a:xfrm>
          <a:prstGeom prst="hexagon">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Intune</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800k devices</a:t>
            </a:r>
          </a:p>
        </p:txBody>
      </p:sp>
      <p:sp>
        <p:nvSpPr>
          <p:cNvPr id="26" name="Hexagon 25"/>
          <p:cNvSpPr/>
          <p:nvPr/>
        </p:nvSpPr>
        <p:spPr bwMode="auto">
          <a:xfrm>
            <a:off x="2488809" y="3877213"/>
            <a:ext cx="2943074" cy="2539093"/>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SQL Database</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1.4 million databases</a:t>
            </a:r>
          </a:p>
        </p:txBody>
      </p:sp>
      <p:sp>
        <p:nvSpPr>
          <p:cNvPr id="27" name="Hexagon 26"/>
          <p:cNvSpPr/>
          <p:nvPr/>
        </p:nvSpPr>
        <p:spPr bwMode="auto">
          <a:xfrm>
            <a:off x="5602901" y="3452530"/>
            <a:ext cx="2955208" cy="2495576"/>
          </a:xfrm>
          <a:prstGeom prst="hexagon">
            <a:avLst/>
          </a:prstGeom>
          <a:solidFill>
            <a:srgbClr val="04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Bing Cortana</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500m </a:t>
            </a:r>
            <a:r>
              <a:rPr lang="en-US" sz="2353" dirty="0" err="1">
                <a:gradFill>
                  <a:gsLst>
                    <a:gs pos="0">
                      <a:srgbClr val="FFFFFF"/>
                    </a:gs>
                    <a:gs pos="100000">
                      <a:srgbClr val="FFFFFF"/>
                    </a:gs>
                  </a:gsLst>
                  <a:lin ang="5400000" scaled="0"/>
                </a:gradFill>
                <a:ea typeface="Segoe UI" pitchFamily="34" charset="0"/>
                <a:cs typeface="Segoe UI" pitchFamily="34" charset="0"/>
              </a:rPr>
              <a:t>evals</a:t>
            </a:r>
            <a:r>
              <a:rPr lang="en-US" sz="2353" dirty="0">
                <a:gradFill>
                  <a:gsLst>
                    <a:gs pos="0">
                      <a:srgbClr val="FFFFFF"/>
                    </a:gs>
                    <a:gs pos="100000">
                      <a:srgbClr val="FFFFFF"/>
                    </a:gs>
                  </a:gsLst>
                  <a:lin ang="5400000" scaled="0"/>
                </a:gradFill>
                <a:ea typeface="Segoe UI" pitchFamily="34" charset="0"/>
                <a:cs typeface="Segoe UI" pitchFamily="34" charset="0"/>
              </a:rPr>
              <a:t>/sec</a:t>
            </a:r>
          </a:p>
        </p:txBody>
      </p:sp>
      <p:sp>
        <p:nvSpPr>
          <p:cNvPr id="28" name="Hexagon 27"/>
          <p:cNvSpPr/>
          <p:nvPr/>
        </p:nvSpPr>
        <p:spPr bwMode="auto">
          <a:xfrm>
            <a:off x="3484678" y="1189494"/>
            <a:ext cx="2800215" cy="2388910"/>
          </a:xfrm>
          <a:prstGeom prst="hexagon">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Azure Document DB</a:t>
            </a:r>
          </a:p>
          <a:p>
            <a:pPr algn="ctr" defTabSz="914102" fontAlgn="base">
              <a:lnSpc>
                <a:spcPct val="90000"/>
              </a:lnSpc>
              <a:spcBef>
                <a:spcPct val="0"/>
              </a:spcBef>
              <a:spcAft>
                <a:spcPct val="0"/>
              </a:spcAft>
            </a:pPr>
            <a:endParaRPr lang="en-US" sz="2353" b="1"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latin typeface="Segoe UI Light"/>
                <a:ea typeface="Segoe UI" pitchFamily="34" charset="0"/>
                <a:cs typeface="Segoe UI" pitchFamily="34" charset="0"/>
              </a:rPr>
              <a:t>billions transactions/week</a:t>
            </a:r>
          </a:p>
        </p:txBody>
      </p:sp>
      <p:sp>
        <p:nvSpPr>
          <p:cNvPr id="29" name="Hexagon 28"/>
          <p:cNvSpPr/>
          <p:nvPr/>
        </p:nvSpPr>
        <p:spPr bwMode="auto">
          <a:xfrm>
            <a:off x="8805359" y="395247"/>
            <a:ext cx="2830036" cy="2398008"/>
          </a:xfrm>
          <a:prstGeom prst="hexagon">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Skype for Business</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Hybrid Ops</a:t>
            </a:r>
          </a:p>
        </p:txBody>
      </p:sp>
      <p:sp>
        <p:nvSpPr>
          <p:cNvPr id="12" name="Hexagon 11"/>
          <p:cNvSpPr/>
          <p:nvPr/>
        </p:nvSpPr>
        <p:spPr bwMode="auto">
          <a:xfrm>
            <a:off x="8729127" y="3110403"/>
            <a:ext cx="2513889" cy="2186149"/>
          </a:xfrm>
          <a:prstGeom prst="hexagon">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b="1" dirty="0">
                <a:gradFill>
                  <a:gsLst>
                    <a:gs pos="0">
                      <a:srgbClr val="FFFFFF"/>
                    </a:gs>
                    <a:gs pos="100000">
                      <a:srgbClr val="FFFFFF"/>
                    </a:gs>
                  </a:gsLst>
                  <a:lin ang="5400000" scaled="0"/>
                </a:gradFill>
                <a:ea typeface="Segoe UI" pitchFamily="34" charset="0"/>
                <a:cs typeface="Segoe UI" pitchFamily="34" charset="0"/>
              </a:rPr>
              <a:t>Event Hubs</a:t>
            </a:r>
          </a:p>
          <a:p>
            <a:pPr algn="ctr" defTabSz="914102" fontAlgn="base">
              <a:lnSpc>
                <a:spcPct val="90000"/>
              </a:lnSpc>
              <a:spcBef>
                <a:spcPct val="0"/>
              </a:spcBef>
              <a:spcAft>
                <a:spcPct val="0"/>
              </a:spcAft>
            </a:pPr>
            <a:endParaRPr lang="en-US" sz="1961" b="1"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20bn events/day</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297957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a:t>
            </a:r>
            <a:r>
              <a:rPr lang="en-US" dirty="0" smtClean="0"/>
              <a:t>rchestration of </a:t>
            </a:r>
            <a:r>
              <a:rPr lang="en-US" dirty="0" err="1" smtClean="0"/>
              <a:t>microservices</a:t>
            </a:r>
            <a:r>
              <a:rPr lang="en-US" dirty="0" smtClean="0"/>
              <a:t> during failure</a:t>
            </a:r>
            <a:endParaRPr lang="en-US" dirty="0"/>
          </a:p>
        </p:txBody>
      </p:sp>
      <p:cxnSp>
        <p:nvCxnSpPr>
          <p:cNvPr id="251" name="Elbow Connector 250"/>
          <p:cNvCxnSpPr/>
          <p:nvPr/>
        </p:nvCxnSpPr>
        <p:spPr>
          <a:xfrm rot="10800000">
            <a:off x="4052082" y="2749761"/>
            <a:ext cx="522350"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cxnSp>
        <p:nvCxnSpPr>
          <p:cNvPr id="252" name="Elbow Connector 251"/>
          <p:cNvCxnSpPr/>
          <p:nvPr/>
        </p:nvCxnSpPr>
        <p:spPr>
          <a:xfrm rot="10800000">
            <a:off x="5889509" y="2752400"/>
            <a:ext cx="514570"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cxnSp>
        <p:nvCxnSpPr>
          <p:cNvPr id="253" name="Elbow Connector 252"/>
          <p:cNvCxnSpPr/>
          <p:nvPr/>
        </p:nvCxnSpPr>
        <p:spPr>
          <a:xfrm rot="10800000" flipV="1">
            <a:off x="7719159" y="2749761"/>
            <a:ext cx="514564"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54" name="Rectangle 253"/>
          <p:cNvSpPr/>
          <p:nvPr/>
        </p:nvSpPr>
        <p:spPr>
          <a:xfrm>
            <a:off x="6404076"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3</a:t>
            </a:r>
          </a:p>
        </p:txBody>
      </p:sp>
      <p:sp>
        <p:nvSpPr>
          <p:cNvPr id="255" name="Rectangle 254"/>
          <p:cNvSpPr/>
          <p:nvPr/>
        </p:nvSpPr>
        <p:spPr>
          <a:xfrm>
            <a:off x="6644405" y="3012100"/>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8996">
              <a:defRPr/>
            </a:pPr>
            <a:r>
              <a:rPr lang="en-US" sz="2400" kern="0" dirty="0">
                <a:solidFill>
                  <a:sysClr val="window" lastClr="FFFFFF"/>
                </a:solidFill>
                <a:latin typeface="+mj-lt"/>
              </a:rPr>
              <a:t>P</a:t>
            </a:r>
          </a:p>
        </p:txBody>
      </p:sp>
      <p:sp>
        <p:nvSpPr>
          <p:cNvPr id="256" name="Rectangle 255"/>
          <p:cNvSpPr/>
          <p:nvPr/>
        </p:nvSpPr>
        <p:spPr>
          <a:xfrm>
            <a:off x="6669601" y="3770196"/>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57" name="Rectangle 256"/>
          <p:cNvSpPr/>
          <p:nvPr/>
        </p:nvSpPr>
        <p:spPr>
          <a:xfrm>
            <a:off x="6658581" y="3390858"/>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cxnSp>
        <p:nvCxnSpPr>
          <p:cNvPr id="258" name="Elbow Connector 257"/>
          <p:cNvCxnSpPr/>
          <p:nvPr/>
        </p:nvCxnSpPr>
        <p:spPr>
          <a:xfrm rot="10800000">
            <a:off x="9548806" y="2752390"/>
            <a:ext cx="514564" cy="11"/>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59" name="Rectangle 258"/>
          <p:cNvSpPr/>
          <p:nvPr/>
        </p:nvSpPr>
        <p:spPr>
          <a:xfrm>
            <a:off x="8233723"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4</a:t>
            </a:r>
          </a:p>
        </p:txBody>
      </p:sp>
      <p:sp>
        <p:nvSpPr>
          <p:cNvPr id="260" name="Rectangle 259"/>
          <p:cNvSpPr/>
          <p:nvPr/>
        </p:nvSpPr>
        <p:spPr>
          <a:xfrm>
            <a:off x="8474053" y="3094138"/>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61" name="Rectangle 260"/>
          <p:cNvSpPr/>
          <p:nvPr/>
        </p:nvSpPr>
        <p:spPr>
          <a:xfrm>
            <a:off x="8474053" y="3480947"/>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a:scene3d>
            <a:camera prst="orthographicFront" fov="0">
              <a:rot lat="0" lon="0" rev="0"/>
            </a:camera>
            <a:lightRig rig="balanced" dir="t">
              <a:rot lat="0" lon="0" rev="0"/>
            </a:lightRig>
          </a:scene3d>
          <a:sp3d prstMaterial="matte">
            <a:contourClr>
              <a:srgbClr val="9BBB59">
                <a:tint val="100000"/>
                <a:shade val="100000"/>
                <a:hueMod val="100000"/>
                <a:satMod val="100000"/>
              </a:srgbClr>
            </a:contourClr>
          </a:sp3d>
        </p:spPr>
        <p:txBody>
          <a:bodyPr rtlCol="0" anchor="ctr"/>
          <a:lstStyle/>
          <a:p>
            <a:pPr algn="ctr" defTabSz="1218996">
              <a:defRPr/>
            </a:pPr>
            <a:r>
              <a:rPr lang="en-US" sz="2400" kern="0" dirty="0">
                <a:solidFill>
                  <a:sysClr val="window" lastClr="FFFFFF"/>
                </a:solidFill>
                <a:latin typeface="+mj-lt"/>
              </a:rPr>
              <a:t>S</a:t>
            </a:r>
          </a:p>
        </p:txBody>
      </p:sp>
      <p:sp>
        <p:nvSpPr>
          <p:cNvPr id="262" name="Rectangle 261"/>
          <p:cNvSpPr/>
          <p:nvPr/>
        </p:nvSpPr>
        <p:spPr>
          <a:xfrm>
            <a:off x="4574430"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2</a:t>
            </a:r>
          </a:p>
        </p:txBody>
      </p:sp>
      <p:sp>
        <p:nvSpPr>
          <p:cNvPr id="263" name="Rectangle 262"/>
          <p:cNvSpPr/>
          <p:nvPr/>
        </p:nvSpPr>
        <p:spPr>
          <a:xfrm>
            <a:off x="4814758" y="3012100"/>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8996">
              <a:defRPr/>
            </a:pPr>
            <a:r>
              <a:rPr lang="en-US" sz="2400" kern="0" dirty="0">
                <a:solidFill>
                  <a:sysClr val="window" lastClr="FFFFFF"/>
                </a:solidFill>
                <a:latin typeface="+mj-lt"/>
              </a:rPr>
              <a:t>P</a:t>
            </a:r>
          </a:p>
        </p:txBody>
      </p:sp>
      <p:sp>
        <p:nvSpPr>
          <p:cNvPr id="264" name="Rectangle 263"/>
          <p:cNvSpPr/>
          <p:nvPr/>
        </p:nvSpPr>
        <p:spPr>
          <a:xfrm>
            <a:off x="4811875" y="3763604"/>
            <a:ext cx="840190" cy="369978"/>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65" name="Rectangle 264"/>
          <p:cNvSpPr/>
          <p:nvPr/>
        </p:nvSpPr>
        <p:spPr>
          <a:xfrm>
            <a:off x="4814758" y="3386294"/>
            <a:ext cx="834423" cy="363313"/>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8996">
              <a:defRPr/>
            </a:pPr>
            <a:r>
              <a:rPr lang="en-US" sz="2400" kern="0" dirty="0">
                <a:solidFill>
                  <a:sysClr val="windowText" lastClr="000000"/>
                </a:solidFill>
                <a:latin typeface="+mj-lt"/>
              </a:rPr>
              <a:t>S</a:t>
            </a:r>
          </a:p>
        </p:txBody>
      </p:sp>
      <p:sp>
        <p:nvSpPr>
          <p:cNvPr id="266" name="Rectangle 265"/>
          <p:cNvSpPr/>
          <p:nvPr/>
        </p:nvSpPr>
        <p:spPr>
          <a:xfrm>
            <a:off x="4814758" y="4126068"/>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67" name="Rectangle 266"/>
          <p:cNvSpPr/>
          <p:nvPr/>
        </p:nvSpPr>
        <p:spPr>
          <a:xfrm>
            <a:off x="10063371"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5</a:t>
            </a:r>
          </a:p>
        </p:txBody>
      </p:sp>
      <p:sp>
        <p:nvSpPr>
          <p:cNvPr id="268" name="Rectangle 267"/>
          <p:cNvSpPr/>
          <p:nvPr/>
        </p:nvSpPr>
        <p:spPr>
          <a:xfrm>
            <a:off x="10303699" y="3012100"/>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8996">
              <a:defRPr/>
            </a:pPr>
            <a:r>
              <a:rPr lang="en-US" sz="2400" kern="0" dirty="0">
                <a:solidFill>
                  <a:sysClr val="window" lastClr="FFFFFF"/>
                </a:solidFill>
                <a:latin typeface="+mj-lt"/>
              </a:rPr>
              <a:t>P</a:t>
            </a:r>
          </a:p>
        </p:txBody>
      </p:sp>
      <p:sp>
        <p:nvSpPr>
          <p:cNvPr id="269" name="Rectangle 268"/>
          <p:cNvSpPr/>
          <p:nvPr/>
        </p:nvSpPr>
        <p:spPr>
          <a:xfrm>
            <a:off x="10303699" y="3388027"/>
            <a:ext cx="834423" cy="363313"/>
          </a:xfrm>
          <a:prstGeom prst="rect">
            <a:avLst/>
          </a:prstGeom>
          <a:solidFill>
            <a:srgbClr val="4F81BD">
              <a:lumMod val="40000"/>
              <a:lumOff val="60000"/>
            </a:srgbClr>
          </a:solidFill>
          <a:ln w="9525" cap="flat" cmpd="sng" algn="ctr">
            <a:solidFill>
              <a:sysClr val="windowText" lastClr="000000"/>
            </a:solidFill>
            <a:prstDash val="solid"/>
          </a:ln>
          <a:effectLst/>
        </p:spPr>
        <p:txBody>
          <a:bodyPr rtlCol="0" anchor="ctr"/>
          <a:lstStyle/>
          <a:p>
            <a:pPr algn="ctr" defTabSz="1218996">
              <a:defRPr/>
            </a:pPr>
            <a:r>
              <a:rPr lang="en-US" sz="2400" kern="0" dirty="0">
                <a:solidFill>
                  <a:sysClr val="windowText" lastClr="000000"/>
                </a:solidFill>
                <a:latin typeface="+mj-lt"/>
              </a:rPr>
              <a:t>S</a:t>
            </a:r>
          </a:p>
        </p:txBody>
      </p:sp>
      <p:sp>
        <p:nvSpPr>
          <p:cNvPr id="270" name="Rectangle 269"/>
          <p:cNvSpPr/>
          <p:nvPr/>
        </p:nvSpPr>
        <p:spPr>
          <a:xfrm>
            <a:off x="10303699" y="3766099"/>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71" name="Rectangle 270"/>
          <p:cNvSpPr/>
          <p:nvPr/>
        </p:nvSpPr>
        <p:spPr>
          <a:xfrm>
            <a:off x="10303699" y="4142026"/>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72" name="Rectangle 271"/>
          <p:cNvSpPr/>
          <p:nvPr/>
        </p:nvSpPr>
        <p:spPr>
          <a:xfrm>
            <a:off x="2744782"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1</a:t>
            </a:r>
            <a:endParaRPr lang="en-US" sz="2400" kern="0" dirty="0">
              <a:solidFill>
                <a:schemeClr val="bg1"/>
              </a:solidFill>
              <a:latin typeface="+mj-lt"/>
            </a:endParaRPr>
          </a:p>
        </p:txBody>
      </p:sp>
      <p:sp>
        <p:nvSpPr>
          <p:cNvPr id="273" name="Rectangle 272"/>
          <p:cNvSpPr/>
          <p:nvPr/>
        </p:nvSpPr>
        <p:spPr>
          <a:xfrm>
            <a:off x="2982227" y="3492716"/>
            <a:ext cx="840190" cy="369978"/>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74" name="Rectangle 273"/>
          <p:cNvSpPr/>
          <p:nvPr/>
        </p:nvSpPr>
        <p:spPr>
          <a:xfrm>
            <a:off x="2985111" y="3107905"/>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75" name="Rectangle 274"/>
          <p:cNvSpPr/>
          <p:nvPr/>
        </p:nvSpPr>
        <p:spPr>
          <a:xfrm>
            <a:off x="2982227" y="3842003"/>
            <a:ext cx="840190" cy="369978"/>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8996">
              <a:defRPr/>
            </a:pPr>
            <a:r>
              <a:rPr lang="en-US" sz="2400" kern="0" dirty="0">
                <a:solidFill>
                  <a:sysClr val="windowText" lastClr="000000"/>
                </a:solidFill>
                <a:latin typeface="+mj-lt"/>
              </a:rPr>
              <a:t>P</a:t>
            </a:r>
          </a:p>
        </p:txBody>
      </p:sp>
      <p:cxnSp>
        <p:nvCxnSpPr>
          <p:cNvPr id="276" name="Straight Arrow Connector 275"/>
          <p:cNvCxnSpPr>
            <a:stCxn id="263" idx="1"/>
            <a:endCxn id="273" idx="3"/>
          </p:cNvCxnSpPr>
          <p:nvPr/>
        </p:nvCxnSpPr>
        <p:spPr>
          <a:xfrm flipH="1">
            <a:off x="3822419" y="3193758"/>
            <a:ext cx="992341" cy="483949"/>
          </a:xfrm>
          <a:prstGeom prst="straightConnector1">
            <a:avLst/>
          </a:prstGeom>
          <a:noFill/>
          <a:ln w="19050" cap="flat" cmpd="sng" algn="ctr">
            <a:solidFill>
              <a:srgbClr val="00B050"/>
            </a:solidFill>
            <a:prstDash val="solid"/>
            <a:tailEnd type="arrow"/>
          </a:ln>
          <a:effectLst/>
        </p:spPr>
      </p:cxnSp>
      <p:cxnSp>
        <p:nvCxnSpPr>
          <p:cNvPr id="277" name="Straight Arrow Connector 276"/>
          <p:cNvCxnSpPr>
            <a:stCxn id="263" idx="3"/>
            <a:endCxn id="257" idx="1"/>
          </p:cNvCxnSpPr>
          <p:nvPr/>
        </p:nvCxnSpPr>
        <p:spPr>
          <a:xfrm>
            <a:off x="5649183" y="3193758"/>
            <a:ext cx="1009399" cy="378758"/>
          </a:xfrm>
          <a:prstGeom prst="straightConnector1">
            <a:avLst/>
          </a:prstGeom>
          <a:noFill/>
          <a:ln w="19050" cap="flat" cmpd="sng" algn="ctr">
            <a:solidFill>
              <a:srgbClr val="00B050"/>
            </a:solidFill>
            <a:prstDash val="solid"/>
            <a:tailEnd type="arrow"/>
          </a:ln>
          <a:effectLst/>
        </p:spPr>
      </p:cxnSp>
      <p:cxnSp>
        <p:nvCxnSpPr>
          <p:cNvPr id="278" name="Straight Arrow Connector 277"/>
          <p:cNvCxnSpPr>
            <a:stCxn id="268" idx="1"/>
            <a:endCxn id="260" idx="3"/>
          </p:cNvCxnSpPr>
          <p:nvPr/>
        </p:nvCxnSpPr>
        <p:spPr>
          <a:xfrm rot="10800000" flipV="1">
            <a:off x="9308475" y="3193757"/>
            <a:ext cx="995224" cy="82038"/>
          </a:xfrm>
          <a:prstGeom prst="straightConnector1">
            <a:avLst/>
          </a:prstGeom>
          <a:noFill/>
          <a:ln w="19050" cap="flat" cmpd="sng" algn="ctr">
            <a:solidFill>
              <a:srgbClr val="00B050"/>
            </a:solidFill>
            <a:prstDash val="solid"/>
            <a:tailEnd type="arrow"/>
          </a:ln>
          <a:effectLst/>
        </p:spPr>
      </p:cxnSp>
      <p:cxnSp>
        <p:nvCxnSpPr>
          <p:cNvPr id="279" name="Straight Arrow Connector 278"/>
          <p:cNvCxnSpPr>
            <a:stCxn id="255" idx="1"/>
            <a:endCxn id="266" idx="3"/>
          </p:cNvCxnSpPr>
          <p:nvPr/>
        </p:nvCxnSpPr>
        <p:spPr>
          <a:xfrm flipH="1">
            <a:off x="5649181" y="3193755"/>
            <a:ext cx="995224" cy="1113969"/>
          </a:xfrm>
          <a:prstGeom prst="straightConnector1">
            <a:avLst/>
          </a:prstGeom>
          <a:noFill/>
          <a:ln w="19050" cap="flat" cmpd="sng" algn="ctr">
            <a:solidFill>
              <a:srgbClr val="00B050"/>
            </a:solidFill>
            <a:prstDash val="solid"/>
            <a:tailEnd type="arrow"/>
          </a:ln>
          <a:effectLst/>
        </p:spPr>
      </p:cxnSp>
      <p:cxnSp>
        <p:nvCxnSpPr>
          <p:cNvPr id="280" name="Straight Arrow Connector 279"/>
          <p:cNvCxnSpPr>
            <a:stCxn id="255" idx="3"/>
            <a:endCxn id="261" idx="1"/>
          </p:cNvCxnSpPr>
          <p:nvPr/>
        </p:nvCxnSpPr>
        <p:spPr>
          <a:xfrm>
            <a:off x="7478828" y="3193754"/>
            <a:ext cx="995224" cy="468849"/>
          </a:xfrm>
          <a:prstGeom prst="straightConnector1">
            <a:avLst/>
          </a:prstGeom>
          <a:noFill/>
          <a:ln w="19050" cap="flat" cmpd="sng" algn="ctr">
            <a:solidFill>
              <a:srgbClr val="00B050"/>
            </a:solidFill>
            <a:prstDash val="solid"/>
            <a:tailEnd type="arrow"/>
          </a:ln>
          <a:effectLst/>
        </p:spPr>
      </p:cxnSp>
      <p:cxnSp>
        <p:nvCxnSpPr>
          <p:cNvPr id="281" name="Straight Arrow Connector 280"/>
          <p:cNvCxnSpPr>
            <a:stCxn id="255" idx="3"/>
            <a:endCxn id="271" idx="1"/>
          </p:cNvCxnSpPr>
          <p:nvPr/>
        </p:nvCxnSpPr>
        <p:spPr>
          <a:xfrm>
            <a:off x="7478828" y="3193756"/>
            <a:ext cx="2824871" cy="1129927"/>
          </a:xfrm>
          <a:prstGeom prst="straightConnector1">
            <a:avLst/>
          </a:prstGeom>
          <a:noFill/>
          <a:ln w="19050" cap="flat" cmpd="sng" algn="ctr">
            <a:solidFill>
              <a:srgbClr val="00B050"/>
            </a:solidFill>
            <a:prstDash val="solid"/>
            <a:tailEnd type="arrow"/>
          </a:ln>
          <a:effectLst/>
        </p:spPr>
      </p:cxnSp>
      <p:sp>
        <p:nvSpPr>
          <p:cNvPr id="282" name="Rectangle 281"/>
          <p:cNvSpPr/>
          <p:nvPr/>
        </p:nvSpPr>
        <p:spPr>
          <a:xfrm>
            <a:off x="915135" y="2286164"/>
            <a:ext cx="1315080" cy="2836492"/>
          </a:xfrm>
          <a:prstGeom prst="rect">
            <a:avLst/>
          </a:prstGeom>
          <a:solidFill>
            <a:schemeClr val="accent2"/>
          </a:solidFill>
          <a:ln w="9525" cap="flat" cmpd="sng" algn="ctr">
            <a:solidFill>
              <a:srgbClr val="C0504D"/>
            </a:solidFill>
            <a:prstDash val="solid"/>
          </a:ln>
          <a:effectLst>
            <a:outerShdw blurRad="38100" dist="25400" dir="5400000" rotWithShape="0">
              <a:srgbClr val="000000">
                <a:alpha val="40000"/>
              </a:srgbClr>
            </a:outerShdw>
          </a:effectLst>
        </p:spPr>
        <p:txBody>
          <a:bodyPr rtlCol="0" anchor="t" anchorCtr="0"/>
          <a:lstStyle/>
          <a:p>
            <a:pPr algn="ctr" defTabSz="1218996">
              <a:defRPr/>
            </a:pPr>
            <a:r>
              <a:rPr lang="en-US" sz="1600" kern="0" dirty="0">
                <a:solidFill>
                  <a:schemeClr val="bg1"/>
                </a:solidFill>
                <a:latin typeface="+mj-lt"/>
              </a:rPr>
              <a:t>Node 100</a:t>
            </a:r>
          </a:p>
        </p:txBody>
      </p:sp>
      <p:cxnSp>
        <p:nvCxnSpPr>
          <p:cNvPr id="283" name="Straight Arrow Connector 282"/>
          <p:cNvCxnSpPr>
            <a:stCxn id="263" idx="1"/>
            <a:endCxn id="284" idx="3"/>
          </p:cNvCxnSpPr>
          <p:nvPr/>
        </p:nvCxnSpPr>
        <p:spPr>
          <a:xfrm flipH="1">
            <a:off x="1989886" y="3193756"/>
            <a:ext cx="2824871" cy="807047"/>
          </a:xfrm>
          <a:prstGeom prst="straightConnector1">
            <a:avLst/>
          </a:prstGeom>
          <a:noFill/>
          <a:ln w="19050" cap="flat" cmpd="sng" algn="ctr">
            <a:solidFill>
              <a:srgbClr val="00B050"/>
            </a:solidFill>
            <a:prstDash val="solid"/>
            <a:tailEnd type="arrow"/>
          </a:ln>
          <a:effectLst/>
        </p:spPr>
      </p:cxnSp>
      <p:sp>
        <p:nvSpPr>
          <p:cNvPr id="284" name="Rectangle 283"/>
          <p:cNvSpPr/>
          <p:nvPr/>
        </p:nvSpPr>
        <p:spPr>
          <a:xfrm>
            <a:off x="1155464" y="3819147"/>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285" name="Rectangle 284"/>
          <p:cNvSpPr/>
          <p:nvPr/>
        </p:nvSpPr>
        <p:spPr>
          <a:xfrm>
            <a:off x="1155464" y="3064915"/>
            <a:ext cx="834423" cy="363313"/>
          </a:xfrm>
          <a:prstGeom prst="rect">
            <a:avLst/>
          </a:prstGeom>
          <a:gradFill rotWithShape="1">
            <a:gsLst>
              <a:gs pos="0">
                <a:srgbClr val="4BACC6">
                  <a:shade val="63000"/>
                </a:srgbClr>
              </a:gs>
              <a:gs pos="30000">
                <a:srgbClr val="4BACC6">
                  <a:shade val="90000"/>
                  <a:satMod val="110000"/>
                </a:srgbClr>
              </a:gs>
              <a:gs pos="45000">
                <a:srgbClr val="4BACC6">
                  <a:shade val="100000"/>
                  <a:satMod val="118000"/>
                </a:srgbClr>
              </a:gs>
              <a:gs pos="55000">
                <a:srgbClr val="4BACC6">
                  <a:shade val="100000"/>
                  <a:satMod val="118000"/>
                </a:srgbClr>
              </a:gs>
              <a:gs pos="73000">
                <a:srgbClr val="4BACC6">
                  <a:shade val="90000"/>
                  <a:satMod val="110000"/>
                </a:srgbClr>
              </a:gs>
              <a:gs pos="100000">
                <a:srgbClr val="4BACC6">
                  <a:shade val="63000"/>
                </a:srgbClr>
              </a:gs>
            </a:gsLst>
            <a:lin ang="950000" scaled="1"/>
          </a:gradFill>
          <a:ln w="9525" cap="flat" cmpd="sng" algn="ctr">
            <a:solidFill>
              <a:srgbClr val="4BACC6"/>
            </a:solidFill>
            <a:prstDash val="solid"/>
          </a:ln>
          <a:effectLst/>
        </p:spPr>
        <p:txBody>
          <a:bodyPr rtlCol="0" anchor="ctr"/>
          <a:lstStyle/>
          <a:p>
            <a:pPr algn="ctr" defTabSz="1218996">
              <a:defRPr/>
            </a:pPr>
            <a:r>
              <a:rPr lang="en-US" sz="2400" kern="0" dirty="0">
                <a:solidFill>
                  <a:sysClr val="window" lastClr="FFFFFF"/>
                </a:solidFill>
                <a:latin typeface="+mj-lt"/>
              </a:rPr>
              <a:t>P</a:t>
            </a:r>
          </a:p>
        </p:txBody>
      </p:sp>
      <p:cxnSp>
        <p:nvCxnSpPr>
          <p:cNvPr id="286" name="Elbow Connector 285"/>
          <p:cNvCxnSpPr/>
          <p:nvPr/>
        </p:nvCxnSpPr>
        <p:spPr>
          <a:xfrm rot="10800000" flipV="1">
            <a:off x="2230218" y="2751078"/>
            <a:ext cx="517008" cy="1322"/>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87" name="Rectangle 286"/>
          <p:cNvSpPr/>
          <p:nvPr/>
        </p:nvSpPr>
        <p:spPr>
          <a:xfrm>
            <a:off x="1155464" y="3440820"/>
            <a:ext cx="834423" cy="363313"/>
          </a:xfrm>
          <a:prstGeom prst="rect">
            <a:avLst/>
          </a:prstGeom>
          <a:solidFill>
            <a:srgbClr val="4F81BD">
              <a:lumMod val="40000"/>
              <a:lumOff val="60000"/>
            </a:srgbClr>
          </a:solidFill>
          <a:ln w="9525" cap="flat" cmpd="sng" algn="ctr">
            <a:solidFill>
              <a:srgbClr val="8064A2"/>
            </a:solidFill>
            <a:prstDash val="solid"/>
          </a:ln>
          <a:effectLst/>
        </p:spPr>
        <p:txBody>
          <a:bodyPr rtlCol="0" anchor="ctr"/>
          <a:lstStyle/>
          <a:p>
            <a:pPr algn="ctr" defTabSz="1218996">
              <a:defRPr/>
            </a:pPr>
            <a:r>
              <a:rPr lang="en-US" sz="2400" kern="0" dirty="0">
                <a:solidFill>
                  <a:sysClr val="windowText" lastClr="000000"/>
                </a:solidFill>
                <a:latin typeface="+mj-lt"/>
              </a:rPr>
              <a:t>S</a:t>
            </a:r>
          </a:p>
        </p:txBody>
      </p:sp>
      <p:cxnSp>
        <p:nvCxnSpPr>
          <p:cNvPr id="288" name="Straight Arrow Connector 287"/>
          <p:cNvCxnSpPr>
            <a:stCxn id="275" idx="1"/>
            <a:endCxn id="287" idx="3"/>
          </p:cNvCxnSpPr>
          <p:nvPr/>
        </p:nvCxnSpPr>
        <p:spPr>
          <a:xfrm flipH="1" flipV="1">
            <a:off x="1989888" y="3622475"/>
            <a:ext cx="992341" cy="404515"/>
          </a:xfrm>
          <a:prstGeom prst="straightConnector1">
            <a:avLst/>
          </a:prstGeom>
          <a:noFill/>
          <a:ln w="19050" cap="flat" cmpd="sng" algn="ctr">
            <a:solidFill>
              <a:srgbClr val="00B050"/>
            </a:solidFill>
            <a:prstDash val="solid"/>
            <a:tailEnd type="arrow"/>
          </a:ln>
          <a:effectLst/>
        </p:spPr>
      </p:cxnSp>
      <p:cxnSp>
        <p:nvCxnSpPr>
          <p:cNvPr id="289" name="Straight Arrow Connector 288"/>
          <p:cNvCxnSpPr>
            <a:stCxn id="275" idx="3"/>
            <a:endCxn id="265" idx="1"/>
          </p:cNvCxnSpPr>
          <p:nvPr/>
        </p:nvCxnSpPr>
        <p:spPr>
          <a:xfrm flipV="1">
            <a:off x="3822419" y="3567952"/>
            <a:ext cx="992341" cy="459040"/>
          </a:xfrm>
          <a:prstGeom prst="straightConnector1">
            <a:avLst/>
          </a:prstGeom>
          <a:noFill/>
          <a:ln w="19050" cap="flat" cmpd="sng" algn="ctr">
            <a:solidFill>
              <a:srgbClr val="00B050"/>
            </a:solidFill>
            <a:prstDash val="solid"/>
            <a:tailEnd type="arrow"/>
          </a:ln>
          <a:effectLst/>
        </p:spPr>
      </p:cxnSp>
      <p:cxnSp>
        <p:nvCxnSpPr>
          <p:cNvPr id="290" name="Straight Arrow Connector 289"/>
          <p:cNvCxnSpPr>
            <a:stCxn id="275" idx="3"/>
          </p:cNvCxnSpPr>
          <p:nvPr/>
        </p:nvCxnSpPr>
        <p:spPr>
          <a:xfrm flipV="1">
            <a:off x="3822419" y="3501125"/>
            <a:ext cx="6456027" cy="525866"/>
          </a:xfrm>
          <a:prstGeom prst="straightConnector1">
            <a:avLst/>
          </a:prstGeom>
          <a:noFill/>
          <a:ln w="19050" cap="flat" cmpd="sng" algn="ctr">
            <a:solidFill>
              <a:srgbClr val="00B050"/>
            </a:solidFill>
            <a:prstDash val="solid"/>
            <a:tailEnd type="arrow"/>
          </a:ln>
          <a:effectLst/>
        </p:spPr>
      </p:cxnSp>
      <p:cxnSp>
        <p:nvCxnSpPr>
          <p:cNvPr id="291" name="Straight Arrow Connector 290"/>
          <p:cNvCxnSpPr>
            <a:stCxn id="285" idx="3"/>
            <a:endCxn id="274" idx="1"/>
          </p:cNvCxnSpPr>
          <p:nvPr/>
        </p:nvCxnSpPr>
        <p:spPr>
          <a:xfrm>
            <a:off x="1989887" y="3246572"/>
            <a:ext cx="995224" cy="42989"/>
          </a:xfrm>
          <a:prstGeom prst="straightConnector1">
            <a:avLst/>
          </a:prstGeom>
          <a:noFill/>
          <a:ln w="19050" cap="flat" cmpd="sng" algn="ctr">
            <a:solidFill>
              <a:srgbClr val="00B050"/>
            </a:solidFill>
            <a:prstDash val="solid"/>
            <a:tailEnd type="arrow"/>
          </a:ln>
          <a:effectLst/>
        </p:spPr>
      </p:cxnSp>
      <p:cxnSp>
        <p:nvCxnSpPr>
          <p:cNvPr id="292" name="Straight Arrow Connector 291"/>
          <p:cNvCxnSpPr>
            <a:stCxn id="285" idx="3"/>
            <a:endCxn id="264" idx="1"/>
          </p:cNvCxnSpPr>
          <p:nvPr/>
        </p:nvCxnSpPr>
        <p:spPr>
          <a:xfrm>
            <a:off x="1989889" y="3246573"/>
            <a:ext cx="2821987" cy="702022"/>
          </a:xfrm>
          <a:prstGeom prst="straightConnector1">
            <a:avLst/>
          </a:prstGeom>
          <a:noFill/>
          <a:ln w="19050" cap="flat" cmpd="sng" algn="ctr">
            <a:solidFill>
              <a:srgbClr val="00B050"/>
            </a:solidFill>
            <a:prstDash val="solid"/>
            <a:tailEnd type="arrow"/>
          </a:ln>
          <a:effectLst/>
        </p:spPr>
      </p:cxnSp>
      <p:sp>
        <p:nvSpPr>
          <p:cNvPr id="293" name="Rectangle 292"/>
          <p:cNvSpPr/>
          <p:nvPr/>
        </p:nvSpPr>
        <p:spPr>
          <a:xfrm>
            <a:off x="1155464" y="4195996"/>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cxnSp>
        <p:nvCxnSpPr>
          <p:cNvPr id="294" name="Straight Arrow Connector 293"/>
          <p:cNvCxnSpPr>
            <a:stCxn id="268" idx="1"/>
            <a:endCxn id="293" idx="3"/>
          </p:cNvCxnSpPr>
          <p:nvPr/>
        </p:nvCxnSpPr>
        <p:spPr>
          <a:xfrm flipH="1">
            <a:off x="1989886" y="3193756"/>
            <a:ext cx="8313813" cy="1183896"/>
          </a:xfrm>
          <a:prstGeom prst="straightConnector1">
            <a:avLst/>
          </a:prstGeom>
          <a:noFill/>
          <a:ln w="19050" cap="flat" cmpd="sng" algn="ctr">
            <a:solidFill>
              <a:srgbClr val="00B050"/>
            </a:solidFill>
            <a:prstDash val="solid"/>
            <a:tailEnd type="arrow"/>
          </a:ln>
          <a:effectLst/>
        </p:spPr>
      </p:cxnSp>
      <p:cxnSp>
        <p:nvCxnSpPr>
          <p:cNvPr id="295" name="Straight Arrow Connector 294"/>
          <p:cNvCxnSpPr>
            <a:stCxn id="285" idx="3"/>
            <a:endCxn id="270" idx="1"/>
          </p:cNvCxnSpPr>
          <p:nvPr/>
        </p:nvCxnSpPr>
        <p:spPr>
          <a:xfrm>
            <a:off x="1989886" y="3246571"/>
            <a:ext cx="8313813" cy="701183"/>
          </a:xfrm>
          <a:prstGeom prst="straightConnector1">
            <a:avLst/>
          </a:prstGeom>
          <a:noFill/>
          <a:ln w="19050" cap="flat" cmpd="sng" algn="ctr">
            <a:solidFill>
              <a:srgbClr val="00B050"/>
            </a:solidFill>
            <a:prstDash val="solid"/>
            <a:tailEnd type="arrow"/>
          </a:ln>
          <a:effectLst/>
        </p:spPr>
      </p:cxnSp>
      <p:cxnSp>
        <p:nvCxnSpPr>
          <p:cNvPr id="296" name="Elbow Connector 295"/>
          <p:cNvCxnSpPr/>
          <p:nvPr/>
        </p:nvCxnSpPr>
        <p:spPr>
          <a:xfrm rot="10800000">
            <a:off x="5886727" y="2740279"/>
            <a:ext cx="2344215" cy="2629"/>
          </a:xfrm>
          <a:prstGeom prst="bentConnector3">
            <a:avLst>
              <a:gd name="adj1" fmla="val 50000"/>
            </a:avLst>
          </a:prstGeom>
          <a:noFill/>
          <a:ln w="19050" cap="flat" cmpd="sng" algn="ctr">
            <a:solidFill>
              <a:srgbClr val="9BBB59">
                <a:lumMod val="75000"/>
              </a:srgbClr>
            </a:solidFill>
            <a:prstDash val="solid"/>
            <a:headEnd type="arrow"/>
            <a:tailEnd type="arrow"/>
          </a:ln>
          <a:effectLst/>
        </p:spPr>
      </p:cxnSp>
      <p:sp>
        <p:nvSpPr>
          <p:cNvPr id="297" name="Rectangle 296"/>
          <p:cNvSpPr/>
          <p:nvPr/>
        </p:nvSpPr>
        <p:spPr>
          <a:xfrm>
            <a:off x="8474051" y="3505189"/>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8996">
              <a:defRPr/>
            </a:pPr>
            <a:r>
              <a:rPr lang="en-US" sz="2400" kern="0" dirty="0">
                <a:solidFill>
                  <a:sysClr val="window" lastClr="FFFFFF"/>
                </a:solidFill>
                <a:latin typeface="+mj-lt"/>
              </a:rPr>
              <a:t>P</a:t>
            </a:r>
          </a:p>
        </p:txBody>
      </p:sp>
      <p:cxnSp>
        <p:nvCxnSpPr>
          <p:cNvPr id="298" name="Straight Arrow Connector 297"/>
          <p:cNvCxnSpPr>
            <a:stCxn id="297" idx="3"/>
            <a:endCxn id="271" idx="1"/>
          </p:cNvCxnSpPr>
          <p:nvPr/>
        </p:nvCxnSpPr>
        <p:spPr>
          <a:xfrm>
            <a:off x="9308475" y="3686847"/>
            <a:ext cx="995226" cy="636836"/>
          </a:xfrm>
          <a:prstGeom prst="straightConnector1">
            <a:avLst/>
          </a:prstGeom>
          <a:noFill/>
          <a:ln w="19050" cap="flat" cmpd="sng" algn="ctr">
            <a:solidFill>
              <a:srgbClr val="00B050"/>
            </a:solidFill>
            <a:prstDash val="solid"/>
            <a:tailEnd type="arrow"/>
          </a:ln>
          <a:effectLst/>
        </p:spPr>
      </p:cxnSp>
      <p:cxnSp>
        <p:nvCxnSpPr>
          <p:cNvPr id="299" name="Straight Arrow Connector 298"/>
          <p:cNvCxnSpPr>
            <a:stCxn id="297" idx="1"/>
            <a:endCxn id="266" idx="3"/>
          </p:cNvCxnSpPr>
          <p:nvPr/>
        </p:nvCxnSpPr>
        <p:spPr>
          <a:xfrm flipH="1">
            <a:off x="5649183" y="3686846"/>
            <a:ext cx="2824869" cy="620879"/>
          </a:xfrm>
          <a:prstGeom prst="straightConnector1">
            <a:avLst/>
          </a:prstGeom>
          <a:noFill/>
          <a:ln w="19050" cap="flat" cmpd="sng" algn="ctr">
            <a:solidFill>
              <a:srgbClr val="00B050"/>
            </a:solidFill>
            <a:prstDash val="solid"/>
            <a:tailEnd type="arrow"/>
          </a:ln>
          <a:effectLst/>
        </p:spPr>
      </p:cxnSp>
      <p:sp>
        <p:nvSpPr>
          <p:cNvPr id="300" name="Rectangle 299"/>
          <p:cNvSpPr/>
          <p:nvPr/>
        </p:nvSpPr>
        <p:spPr>
          <a:xfrm>
            <a:off x="2982227" y="4228449"/>
            <a:ext cx="834423" cy="363313"/>
          </a:xfrm>
          <a:prstGeom prst="rect">
            <a:avLst/>
          </a:prstGeom>
          <a:gradFill rotWithShape="1">
            <a:gsLst>
              <a:gs pos="0">
                <a:srgbClr val="9BBB59">
                  <a:shade val="63000"/>
                </a:srgbClr>
              </a:gs>
              <a:gs pos="30000">
                <a:srgbClr val="9BBB59">
                  <a:shade val="90000"/>
                  <a:satMod val="110000"/>
                </a:srgbClr>
              </a:gs>
              <a:gs pos="45000">
                <a:srgbClr val="9BBB59">
                  <a:shade val="100000"/>
                  <a:satMod val="118000"/>
                </a:srgbClr>
              </a:gs>
              <a:gs pos="55000">
                <a:srgbClr val="9BBB59">
                  <a:shade val="100000"/>
                  <a:satMod val="118000"/>
                </a:srgbClr>
              </a:gs>
              <a:gs pos="73000">
                <a:srgbClr val="9BBB59">
                  <a:shade val="90000"/>
                  <a:satMod val="110000"/>
                </a:srgbClr>
              </a:gs>
              <a:gs pos="100000">
                <a:srgbClr val="9BBB59">
                  <a:shade val="63000"/>
                </a:srgbClr>
              </a:gs>
            </a:gsLst>
            <a:lin ang="950000" scaled="1"/>
          </a:gradFill>
          <a:ln w="9525" cap="flat" cmpd="sng" algn="ctr">
            <a:solidFill>
              <a:srgbClr val="9BBB59"/>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sp>
        <p:nvSpPr>
          <p:cNvPr id="301" name="Rectangle 300"/>
          <p:cNvSpPr/>
          <p:nvPr/>
        </p:nvSpPr>
        <p:spPr>
          <a:xfrm>
            <a:off x="4814758" y="4489379"/>
            <a:ext cx="834423" cy="363313"/>
          </a:xfrm>
          <a:prstGeom prst="rect">
            <a:avLst/>
          </a:prstGeom>
          <a:gradFill rotWithShape="1">
            <a:gsLst>
              <a:gs pos="0">
                <a:srgbClr val="F79646">
                  <a:shade val="63000"/>
                </a:srgbClr>
              </a:gs>
              <a:gs pos="30000">
                <a:srgbClr val="F79646">
                  <a:shade val="90000"/>
                  <a:satMod val="110000"/>
                </a:srgbClr>
              </a:gs>
              <a:gs pos="45000">
                <a:srgbClr val="F79646">
                  <a:shade val="100000"/>
                  <a:satMod val="118000"/>
                </a:srgbClr>
              </a:gs>
              <a:gs pos="55000">
                <a:srgbClr val="F79646">
                  <a:shade val="100000"/>
                  <a:satMod val="118000"/>
                </a:srgbClr>
              </a:gs>
              <a:gs pos="73000">
                <a:srgbClr val="F79646">
                  <a:shade val="90000"/>
                  <a:satMod val="110000"/>
                </a:srgbClr>
              </a:gs>
              <a:gs pos="100000">
                <a:srgbClr val="F79646">
                  <a:shade val="63000"/>
                </a:srgbClr>
              </a:gs>
            </a:gsLst>
            <a:lin ang="950000" scaled="1"/>
          </a:gradFill>
          <a:ln w="9525" cap="flat" cmpd="sng" algn="ctr">
            <a:solidFill>
              <a:srgbClr val="F79646"/>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cxnSp>
        <p:nvCxnSpPr>
          <p:cNvPr id="302" name="Straight Arrow Connector 301"/>
          <p:cNvCxnSpPr>
            <a:stCxn id="268" idx="1"/>
            <a:endCxn id="256" idx="3"/>
          </p:cNvCxnSpPr>
          <p:nvPr/>
        </p:nvCxnSpPr>
        <p:spPr>
          <a:xfrm flipH="1">
            <a:off x="7504025" y="3193757"/>
            <a:ext cx="2799677" cy="758097"/>
          </a:xfrm>
          <a:prstGeom prst="straightConnector1">
            <a:avLst/>
          </a:prstGeom>
          <a:noFill/>
          <a:ln w="19050" cap="flat" cmpd="sng" algn="ctr">
            <a:solidFill>
              <a:srgbClr val="00B050"/>
            </a:solidFill>
            <a:prstDash val="solid"/>
            <a:tailEnd type="arrow"/>
          </a:ln>
          <a:effectLst/>
        </p:spPr>
      </p:cxnSp>
      <p:sp>
        <p:nvSpPr>
          <p:cNvPr id="303" name="Rectangle 302"/>
          <p:cNvSpPr/>
          <p:nvPr/>
        </p:nvSpPr>
        <p:spPr>
          <a:xfrm>
            <a:off x="8474051" y="3861472"/>
            <a:ext cx="834423" cy="363313"/>
          </a:xfrm>
          <a:prstGeom prst="rect">
            <a:avLst/>
          </a:prstGeom>
          <a:gradFill rotWithShape="1">
            <a:gsLst>
              <a:gs pos="0">
                <a:srgbClr val="C0504D">
                  <a:shade val="63000"/>
                </a:srgbClr>
              </a:gs>
              <a:gs pos="30000">
                <a:srgbClr val="C0504D">
                  <a:shade val="90000"/>
                  <a:satMod val="110000"/>
                </a:srgbClr>
              </a:gs>
              <a:gs pos="45000">
                <a:srgbClr val="C0504D">
                  <a:shade val="100000"/>
                  <a:satMod val="118000"/>
                </a:srgbClr>
              </a:gs>
              <a:gs pos="55000">
                <a:srgbClr val="C0504D">
                  <a:shade val="100000"/>
                  <a:satMod val="118000"/>
                </a:srgbClr>
              </a:gs>
              <a:gs pos="73000">
                <a:srgbClr val="C0504D">
                  <a:shade val="90000"/>
                  <a:satMod val="110000"/>
                </a:srgbClr>
              </a:gs>
              <a:gs pos="100000">
                <a:srgbClr val="C0504D">
                  <a:shade val="63000"/>
                </a:srgbClr>
              </a:gs>
            </a:gsLst>
            <a:lin ang="950000" scaled="1"/>
          </a:gradFill>
          <a:ln w="9525" cap="flat" cmpd="sng" algn="ctr">
            <a:solidFill>
              <a:srgbClr val="C0504D"/>
            </a:solidFill>
            <a:prstDash val="solid"/>
          </a:ln>
          <a:effectLst/>
        </p:spPr>
        <p:txBody>
          <a:bodyPr rtlCol="0" anchor="ctr"/>
          <a:lstStyle/>
          <a:p>
            <a:pPr algn="ctr" defTabSz="1218996">
              <a:defRPr/>
            </a:pPr>
            <a:r>
              <a:rPr lang="en-US" sz="2400" kern="0" dirty="0">
                <a:solidFill>
                  <a:sysClr val="window" lastClr="FFFFFF"/>
                </a:solidFill>
                <a:latin typeface="+mj-lt"/>
              </a:rPr>
              <a:t>S</a:t>
            </a:r>
          </a:p>
        </p:txBody>
      </p:sp>
      <p:cxnSp>
        <p:nvCxnSpPr>
          <p:cNvPr id="304" name="Straight Arrow Connector 303"/>
          <p:cNvCxnSpPr>
            <a:stCxn id="297" idx="1"/>
            <a:endCxn id="300" idx="3"/>
          </p:cNvCxnSpPr>
          <p:nvPr/>
        </p:nvCxnSpPr>
        <p:spPr>
          <a:xfrm flipH="1">
            <a:off x="3816650" y="3686845"/>
            <a:ext cx="4657400" cy="723260"/>
          </a:xfrm>
          <a:prstGeom prst="straightConnector1">
            <a:avLst/>
          </a:prstGeom>
          <a:noFill/>
          <a:ln w="19050" cap="flat" cmpd="sng" algn="ctr">
            <a:solidFill>
              <a:srgbClr val="00B050"/>
            </a:solidFill>
            <a:prstDash val="solid"/>
            <a:tailEnd type="arrow"/>
          </a:ln>
          <a:effectLst/>
        </p:spPr>
      </p:cxnSp>
      <p:cxnSp>
        <p:nvCxnSpPr>
          <p:cNvPr id="305" name="Straight Arrow Connector 304"/>
          <p:cNvCxnSpPr>
            <a:stCxn id="268" idx="1"/>
            <a:endCxn id="301" idx="3"/>
          </p:cNvCxnSpPr>
          <p:nvPr/>
        </p:nvCxnSpPr>
        <p:spPr>
          <a:xfrm flipH="1">
            <a:off x="5649181" y="3193757"/>
            <a:ext cx="4654518" cy="1477279"/>
          </a:xfrm>
          <a:prstGeom prst="straightConnector1">
            <a:avLst/>
          </a:prstGeom>
          <a:noFill/>
          <a:ln w="19050" cap="flat" cmpd="sng" algn="ctr">
            <a:solidFill>
              <a:srgbClr val="00B050"/>
            </a:solidFill>
            <a:prstDash val="solid"/>
            <a:tailEnd type="arrow"/>
          </a:ln>
          <a:effectLst/>
        </p:spPr>
      </p:cxnSp>
      <p:cxnSp>
        <p:nvCxnSpPr>
          <p:cNvPr id="306" name="Straight Arrow Connector 305"/>
          <p:cNvCxnSpPr>
            <a:stCxn id="263" idx="3"/>
            <a:endCxn id="303" idx="1"/>
          </p:cNvCxnSpPr>
          <p:nvPr/>
        </p:nvCxnSpPr>
        <p:spPr>
          <a:xfrm>
            <a:off x="5649183" y="3193757"/>
            <a:ext cx="2824869" cy="849373"/>
          </a:xfrm>
          <a:prstGeom prst="straightConnector1">
            <a:avLst/>
          </a:prstGeom>
          <a:noFill/>
          <a:ln w="19050" cap="flat" cmpd="sng" algn="ctr">
            <a:solidFill>
              <a:srgbClr val="00B050"/>
            </a:solidFill>
            <a:prstDash val="solid"/>
            <a:tailEnd type="arrow"/>
          </a:ln>
          <a:effectLst/>
        </p:spPr>
      </p:cxnSp>
    </p:spTree>
    <p:extLst>
      <p:ext uri="{BB962C8B-B14F-4D97-AF65-F5344CB8AC3E}">
        <p14:creationId xmlns:p14="http://schemas.microsoft.com/office/powerpoint/2010/main" val="3695087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8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0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7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6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8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6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8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8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9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xit" presetSubtype="0" fill="hold" grpId="0" nodeType="clickEffect">
                                  <p:stCondLst>
                                    <p:cond delay="0"/>
                                  </p:stCondLst>
                                  <p:childTnLst>
                                    <p:set>
                                      <p:cBhvr>
                                        <p:cTn id="86" dur="1" fill="hold">
                                          <p:stCondLst>
                                            <p:cond delay="0"/>
                                          </p:stCondLst>
                                        </p:cTn>
                                        <p:tgtEl>
                                          <p:spTgt spid="254"/>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255"/>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257"/>
                                        </p:tgtEl>
                                        <p:attrNameLst>
                                          <p:attrName>style.visibility</p:attrName>
                                        </p:attrNameLst>
                                      </p:cBhvr>
                                      <p:to>
                                        <p:strVal val="hidden"/>
                                      </p:to>
                                    </p:set>
                                  </p:childTnLst>
                                </p:cTn>
                              </p:par>
                              <p:par>
                                <p:cTn id="91" presetID="1" presetClass="exit" presetSubtype="0" fill="hold" grpId="1" nodeType="withEffect">
                                  <p:stCondLst>
                                    <p:cond delay="0"/>
                                  </p:stCondLst>
                                  <p:childTnLst>
                                    <p:set>
                                      <p:cBhvr>
                                        <p:cTn id="92" dur="1" fill="hold">
                                          <p:stCondLst>
                                            <p:cond delay="0"/>
                                          </p:stCondLst>
                                        </p:cTn>
                                        <p:tgtEl>
                                          <p:spTgt spid="256"/>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252"/>
                                        </p:tgtEl>
                                        <p:attrNameLst>
                                          <p:attrName>style.visibility</p:attrName>
                                        </p:attrNameLst>
                                      </p:cBhvr>
                                      <p:to>
                                        <p:strVal val="hidden"/>
                                      </p:to>
                                    </p:set>
                                  </p:childTnLst>
                                </p:cTn>
                              </p:par>
                              <p:par>
                                <p:cTn id="95" presetID="1" presetClass="exit" presetSubtype="0" fill="hold" nodeType="withEffect">
                                  <p:stCondLst>
                                    <p:cond delay="0"/>
                                  </p:stCondLst>
                                  <p:childTnLst>
                                    <p:set>
                                      <p:cBhvr>
                                        <p:cTn id="96" dur="1" fill="hold">
                                          <p:stCondLst>
                                            <p:cond delay="0"/>
                                          </p:stCondLst>
                                        </p:cTn>
                                        <p:tgtEl>
                                          <p:spTgt spid="253"/>
                                        </p:tgtEl>
                                        <p:attrNameLst>
                                          <p:attrName>style.visibility</p:attrName>
                                        </p:attrNameLst>
                                      </p:cBhvr>
                                      <p:to>
                                        <p:strVal val="hidden"/>
                                      </p:to>
                                    </p:set>
                                  </p:childTnLst>
                                </p:cTn>
                              </p:par>
                              <p:par>
                                <p:cTn id="97" presetID="1" presetClass="exit" presetSubtype="0" fill="hold" nodeType="withEffect">
                                  <p:stCondLst>
                                    <p:cond delay="0"/>
                                  </p:stCondLst>
                                  <p:childTnLst>
                                    <p:set>
                                      <p:cBhvr>
                                        <p:cTn id="98" dur="1" fill="hold">
                                          <p:stCondLst>
                                            <p:cond delay="0"/>
                                          </p:stCondLst>
                                        </p:cTn>
                                        <p:tgtEl>
                                          <p:spTgt spid="280"/>
                                        </p:tgtEl>
                                        <p:attrNameLst>
                                          <p:attrName>style.visibility</p:attrName>
                                        </p:attrNameLst>
                                      </p:cBhvr>
                                      <p:to>
                                        <p:strVal val="hidden"/>
                                      </p:to>
                                    </p:set>
                                  </p:childTnLst>
                                </p:cTn>
                              </p:par>
                              <p:par>
                                <p:cTn id="99" presetID="1" presetClass="exit" presetSubtype="0" fill="hold" nodeType="withEffect">
                                  <p:stCondLst>
                                    <p:cond delay="0"/>
                                  </p:stCondLst>
                                  <p:childTnLst>
                                    <p:set>
                                      <p:cBhvr>
                                        <p:cTn id="100" dur="1" fill="hold">
                                          <p:stCondLst>
                                            <p:cond delay="0"/>
                                          </p:stCondLst>
                                        </p:cTn>
                                        <p:tgtEl>
                                          <p:spTgt spid="279"/>
                                        </p:tgtEl>
                                        <p:attrNameLst>
                                          <p:attrName>style.visibility</p:attrName>
                                        </p:attrNameLst>
                                      </p:cBhvr>
                                      <p:to>
                                        <p:strVal val="hidden"/>
                                      </p:to>
                                    </p:set>
                                  </p:childTnLst>
                                </p:cTn>
                              </p:par>
                              <p:par>
                                <p:cTn id="101" presetID="1" presetClass="exit" presetSubtype="0" fill="hold" nodeType="withEffect">
                                  <p:stCondLst>
                                    <p:cond delay="0"/>
                                  </p:stCondLst>
                                  <p:childTnLst>
                                    <p:set>
                                      <p:cBhvr>
                                        <p:cTn id="102" dur="1" fill="hold">
                                          <p:stCondLst>
                                            <p:cond delay="0"/>
                                          </p:stCondLst>
                                        </p:cTn>
                                        <p:tgtEl>
                                          <p:spTgt spid="281"/>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296"/>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9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98"/>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99"/>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xit" presetSubtype="0" fill="hold" nodeType="clickEffect">
                                  <p:stCondLst>
                                    <p:cond delay="0"/>
                                  </p:stCondLst>
                                  <p:childTnLst>
                                    <p:set>
                                      <p:cBhvr>
                                        <p:cTn id="118" dur="1" fill="hold">
                                          <p:stCondLst>
                                            <p:cond delay="0"/>
                                          </p:stCondLst>
                                        </p:cTn>
                                        <p:tgtEl>
                                          <p:spTgt spid="277"/>
                                        </p:tgtEl>
                                        <p:attrNameLst>
                                          <p:attrName>style.visibility</p:attrName>
                                        </p:attrNameLst>
                                      </p:cBhvr>
                                      <p:to>
                                        <p:strVal val="hidden"/>
                                      </p:to>
                                    </p:set>
                                  </p:childTnLst>
                                </p:cTn>
                              </p:par>
                              <p:par>
                                <p:cTn id="119" presetID="1" presetClass="exit" presetSubtype="0" fill="hold" nodeType="withEffect">
                                  <p:stCondLst>
                                    <p:cond delay="0"/>
                                  </p:stCondLst>
                                  <p:childTnLst>
                                    <p:set>
                                      <p:cBhvr>
                                        <p:cTn id="120" dur="1" fill="hold">
                                          <p:stCondLst>
                                            <p:cond delay="0"/>
                                          </p:stCondLst>
                                        </p:cTn>
                                        <p:tgtEl>
                                          <p:spTgt spid="302"/>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293"/>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29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304"/>
                                        </p:tgtEl>
                                        <p:attrNameLst>
                                          <p:attrName>style.visibility</p:attrName>
                                        </p:attrNameLst>
                                      </p:cBhvr>
                                      <p:to>
                                        <p:strVal val="visible"/>
                                      </p:to>
                                    </p:set>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grpId="0" nodeType="clickEffect">
                                  <p:stCondLst>
                                    <p:cond delay="0"/>
                                  </p:stCondLst>
                                  <p:childTnLst>
                                    <p:set>
                                      <p:cBhvr>
                                        <p:cTn id="136" dur="1" fill="hold">
                                          <p:stCondLst>
                                            <p:cond delay="0"/>
                                          </p:stCondLst>
                                        </p:cTn>
                                        <p:tgtEl>
                                          <p:spTgt spid="3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3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animBg="1"/>
      <p:bldP spid="255" grpId="0" animBg="1"/>
      <p:bldP spid="255" grpId="1" animBg="1"/>
      <p:bldP spid="256" grpId="0" animBg="1"/>
      <p:bldP spid="256" grpId="1" animBg="1"/>
      <p:bldP spid="257" grpId="0" animBg="1"/>
      <p:bldP spid="257" grpId="1" animBg="1"/>
      <p:bldP spid="260" grpId="0" animBg="1"/>
      <p:bldP spid="261" grpId="0" animBg="1"/>
      <p:bldP spid="263" grpId="0" animBg="1"/>
      <p:bldP spid="264" grpId="0" animBg="1"/>
      <p:bldP spid="265" grpId="0" animBg="1"/>
      <p:bldP spid="266" grpId="0" animBg="1"/>
      <p:bldP spid="268" grpId="0" animBg="1"/>
      <p:bldP spid="269" grpId="0" animBg="1"/>
      <p:bldP spid="270" grpId="0" animBg="1"/>
      <p:bldP spid="271" grpId="0" animBg="1"/>
      <p:bldP spid="273" grpId="0" animBg="1"/>
      <p:bldP spid="274" grpId="0" animBg="1"/>
      <p:bldP spid="275" grpId="0" animBg="1"/>
      <p:bldP spid="284" grpId="0" animBg="1"/>
      <p:bldP spid="285" grpId="0" animBg="1"/>
      <p:bldP spid="287" grpId="0" animBg="1"/>
      <p:bldP spid="293" grpId="0" animBg="1"/>
      <p:bldP spid="297" grpId="0" animBg="1"/>
      <p:bldP spid="300" grpId="0" animBg="1"/>
      <p:bldP spid="301" grpId="0" animBg="1"/>
      <p:bldP spid="30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1630" y="1695698"/>
            <a:ext cx="11156956" cy="40570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2452" y="487"/>
          <a:ext cx="158727" cy="158727"/>
        </p:xfrm>
        <a:graphic>
          <a:graphicData uri="http://schemas.openxmlformats.org/presentationml/2006/ole">
            <mc:AlternateContent xmlns:mc="http://schemas.openxmlformats.org/markup-compatibility/2006">
              <mc:Choice xmlns:v="urn:schemas-microsoft-com:vml" Requires="v">
                <p:oleObj spid="_x0000_s10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452" y="487"/>
                        <a:ext cx="158727" cy="15872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oud Service</a:t>
            </a:r>
            <a:endParaRPr lang="en-US" dirty="0"/>
          </a:p>
        </p:txBody>
      </p:sp>
      <p:sp>
        <p:nvSpPr>
          <p:cNvPr id="12" name="Content Placeholder 2"/>
          <p:cNvSpPr txBox="1">
            <a:spLocks/>
          </p:cNvSpPr>
          <p:nvPr>
            <p:custDataLst>
              <p:tags r:id="rId4"/>
            </p:custDataLst>
          </p:nvPr>
        </p:nvSpPr>
        <p:spPr>
          <a:xfrm>
            <a:off x="695429" y="1844011"/>
            <a:ext cx="10793085" cy="553998"/>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600" dirty="0">
                <a:ln>
                  <a:solidFill>
                    <a:srgbClr val="FFFFFF">
                      <a:alpha val="0"/>
                    </a:srgbClr>
                  </a:solidFill>
                </a:ln>
                <a:solidFill>
                  <a:srgbClr val="107C10">
                    <a:alpha val="99000"/>
                  </a:srgbClr>
                </a:solidFill>
                <a:latin typeface="Segoe UI Light" pitchFamily="34" charset="0"/>
              </a:rPr>
              <a:t>A container of related </a:t>
            </a:r>
            <a:r>
              <a:rPr lang="en-US" sz="3600" dirty="0" err="1">
                <a:ln>
                  <a:solidFill>
                    <a:srgbClr val="FFFFFF">
                      <a:alpha val="0"/>
                    </a:srgbClr>
                  </a:solidFill>
                </a:ln>
                <a:solidFill>
                  <a:srgbClr val="107C10">
                    <a:alpha val="99000"/>
                  </a:srgbClr>
                </a:solidFill>
                <a:latin typeface="Segoe UI Light" pitchFamily="34" charset="0"/>
              </a:rPr>
              <a:t>PaaS</a:t>
            </a:r>
            <a:r>
              <a:rPr lang="en-US" sz="3600" dirty="0">
                <a:ln>
                  <a:solidFill>
                    <a:srgbClr val="FFFFFF">
                      <a:alpha val="0"/>
                    </a:srgbClr>
                  </a:solidFill>
                </a:ln>
                <a:solidFill>
                  <a:srgbClr val="107C10">
                    <a:alpha val="99000"/>
                  </a:srgbClr>
                </a:solidFill>
                <a:latin typeface="Segoe UI Light" pitchFamily="34" charset="0"/>
              </a:rPr>
              <a:t> and or </a:t>
            </a:r>
            <a:r>
              <a:rPr lang="en-US" sz="3600" dirty="0" err="1">
                <a:ln>
                  <a:solidFill>
                    <a:srgbClr val="FFFFFF">
                      <a:alpha val="0"/>
                    </a:srgbClr>
                  </a:solidFill>
                </a:ln>
                <a:solidFill>
                  <a:srgbClr val="107C10">
                    <a:alpha val="99000"/>
                  </a:srgbClr>
                </a:solidFill>
                <a:latin typeface="Segoe UI Light" pitchFamily="34" charset="0"/>
              </a:rPr>
              <a:t>IaaS</a:t>
            </a:r>
            <a:r>
              <a:rPr lang="en-US" sz="3600" dirty="0">
                <a:ln>
                  <a:solidFill>
                    <a:srgbClr val="FFFFFF">
                      <a:alpha val="0"/>
                    </a:srgbClr>
                  </a:solidFill>
                </a:ln>
                <a:solidFill>
                  <a:srgbClr val="107C10">
                    <a:alpha val="99000"/>
                  </a:srgbClr>
                </a:solidFill>
                <a:latin typeface="Segoe UI Light" pitchFamily="34" charset="0"/>
              </a:rPr>
              <a:t> VM Instances</a:t>
            </a:r>
            <a:endParaRPr lang="en-US" sz="2800" dirty="0">
              <a:ln>
                <a:solidFill>
                  <a:srgbClr val="FFFFFF">
                    <a:alpha val="0"/>
                  </a:srgbClr>
                </a:solidFill>
              </a:ln>
              <a:solidFill>
                <a:srgbClr val="107C10">
                  <a:alpha val="99000"/>
                </a:srgbClr>
              </a:solidFill>
              <a:latin typeface="Segoe UI Light" pitchFamily="34" charset="0"/>
            </a:endParaRPr>
          </a:p>
        </p:txBody>
      </p:sp>
      <p:grpSp>
        <p:nvGrpSpPr>
          <p:cNvPr id="7" name="Group 6"/>
          <p:cNvGrpSpPr/>
          <p:nvPr/>
        </p:nvGrpSpPr>
        <p:grpSpPr>
          <a:xfrm>
            <a:off x="676646" y="2983105"/>
            <a:ext cx="3474228" cy="2598472"/>
            <a:chOff x="674289" y="2983040"/>
            <a:chExt cx="3474720" cy="2598841"/>
          </a:xfrm>
        </p:grpSpPr>
        <p:sp>
          <p:nvSpPr>
            <p:cNvPr id="6" name="Rectangle 5"/>
            <p:cNvSpPr/>
            <p:nvPr/>
          </p:nvSpPr>
          <p:spPr bwMode="auto">
            <a:xfrm>
              <a:off x="693075" y="2983040"/>
              <a:ext cx="3455934" cy="259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674289" y="3147933"/>
              <a:ext cx="3474720" cy="554077"/>
            </a:xfrm>
            <a:prstGeom prst="rect">
              <a:avLst/>
            </a:prstGeom>
            <a:noFill/>
          </p:spPr>
          <p:txBody>
            <a:bodyPr wrap="square" lIns="0" tIns="0" rIns="0" bIns="0" rtlCol="0">
              <a:spAutoFit/>
            </a:bodyPr>
            <a:lstStyle/>
            <a:p>
              <a:pPr algn="ctr" defTabSz="914367">
                <a:lnSpc>
                  <a:spcPct val="90000"/>
                </a:lnSpc>
                <a:spcBef>
                  <a:spcPct val="20000"/>
                </a:spcBef>
                <a:buSzPct val="80000"/>
              </a:pPr>
              <a:r>
                <a:rPr lang="en-US" sz="4000" dirty="0">
                  <a:solidFill>
                    <a:srgbClr val="FFFFFF">
                      <a:alpha val="99000"/>
                    </a:srgbClr>
                  </a:solidFill>
                  <a:latin typeface="Segoe UI Light" pitchFamily="34" charset="0"/>
                </a:rPr>
                <a:t>Web Role</a:t>
              </a:r>
            </a:p>
          </p:txBody>
        </p:sp>
        <p:sp>
          <p:nvSpPr>
            <p:cNvPr id="17" name="Freeform 62"/>
            <p:cNvSpPr>
              <a:spLocks noEditPoints="1"/>
            </p:cNvSpPr>
            <p:nvPr/>
          </p:nvSpPr>
          <p:spPr bwMode="black">
            <a:xfrm>
              <a:off x="1916912"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14367"/>
              <a:endParaRPr lang="en-US" sz="1600" dirty="0">
                <a:solidFill>
                  <a:srgbClr val="505050"/>
                </a:solidFill>
              </a:endParaRPr>
            </a:p>
          </p:txBody>
        </p:sp>
      </p:grpSp>
      <p:grpSp>
        <p:nvGrpSpPr>
          <p:cNvPr id="8" name="Group 7"/>
          <p:cNvGrpSpPr/>
          <p:nvPr/>
        </p:nvGrpSpPr>
        <p:grpSpPr>
          <a:xfrm>
            <a:off x="4319989" y="2983105"/>
            <a:ext cx="3474228" cy="2598472"/>
            <a:chOff x="4318149" y="2983040"/>
            <a:chExt cx="3474720" cy="2598841"/>
          </a:xfrm>
        </p:grpSpPr>
        <p:sp>
          <p:nvSpPr>
            <p:cNvPr id="10" name="Rectangle 9"/>
            <p:cNvSpPr/>
            <p:nvPr/>
          </p:nvSpPr>
          <p:spPr bwMode="auto">
            <a:xfrm>
              <a:off x="4318149" y="2983040"/>
              <a:ext cx="3474720" cy="259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18149" y="3147933"/>
              <a:ext cx="3474720" cy="554077"/>
            </a:xfrm>
            <a:prstGeom prst="rect">
              <a:avLst/>
            </a:prstGeom>
            <a:noFill/>
          </p:spPr>
          <p:txBody>
            <a:bodyPr wrap="square" lIns="0" tIns="0" rIns="0" bIns="0" rtlCol="0">
              <a:spAutoFit/>
            </a:bodyPr>
            <a:lstStyle/>
            <a:p>
              <a:pPr algn="ctr" defTabSz="914367">
                <a:lnSpc>
                  <a:spcPct val="90000"/>
                </a:lnSpc>
                <a:spcBef>
                  <a:spcPct val="20000"/>
                </a:spcBef>
                <a:buSzPct val="80000"/>
              </a:pPr>
              <a:r>
                <a:rPr lang="en-US" sz="4000" dirty="0">
                  <a:solidFill>
                    <a:srgbClr val="FFFFFF">
                      <a:alpha val="99000"/>
                    </a:srgbClr>
                  </a:solidFill>
                  <a:latin typeface="Segoe UI Light" pitchFamily="34" charset="0"/>
                </a:rPr>
                <a:t>Worker Role</a:t>
              </a:r>
            </a:p>
          </p:txBody>
        </p:sp>
        <p:grpSp>
          <p:nvGrpSpPr>
            <p:cNvPr id="18" name="Group 17"/>
            <p:cNvGrpSpPr/>
            <p:nvPr/>
          </p:nvGrpSpPr>
          <p:grpSpPr bwMode="black">
            <a:xfrm>
              <a:off x="5503538"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grpSp>
      </p:grpSp>
      <p:grpSp>
        <p:nvGrpSpPr>
          <p:cNvPr id="3" name="Group 2"/>
          <p:cNvGrpSpPr/>
          <p:nvPr/>
        </p:nvGrpSpPr>
        <p:grpSpPr>
          <a:xfrm>
            <a:off x="8014287" y="2983105"/>
            <a:ext cx="3474228" cy="2598472"/>
            <a:chOff x="8012971" y="2983040"/>
            <a:chExt cx="3474720" cy="2598841"/>
          </a:xfrm>
        </p:grpSpPr>
        <p:sp>
          <p:nvSpPr>
            <p:cNvPr id="15" name="Rectangle 14"/>
            <p:cNvSpPr/>
            <p:nvPr/>
          </p:nvSpPr>
          <p:spPr bwMode="auto">
            <a:xfrm>
              <a:off x="8012971"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TextBox 15"/>
            <p:cNvSpPr txBox="1"/>
            <p:nvPr/>
          </p:nvSpPr>
          <p:spPr>
            <a:xfrm>
              <a:off x="8012971" y="3147933"/>
              <a:ext cx="3474720" cy="554077"/>
            </a:xfrm>
            <a:prstGeom prst="rect">
              <a:avLst/>
            </a:prstGeom>
            <a:noFill/>
          </p:spPr>
          <p:txBody>
            <a:bodyPr wrap="square" lIns="0" tIns="0" rIns="0" bIns="0" rtlCol="0">
              <a:spAutoFit/>
            </a:bodyPr>
            <a:lstStyle/>
            <a:p>
              <a:pPr algn="ctr" defTabSz="914367">
                <a:lnSpc>
                  <a:spcPct val="90000"/>
                </a:lnSpc>
                <a:spcBef>
                  <a:spcPct val="20000"/>
                </a:spcBef>
                <a:buSzPct val="80000"/>
              </a:pPr>
              <a:r>
                <a:rPr lang="en-US" sz="4000" dirty="0" err="1">
                  <a:solidFill>
                    <a:srgbClr val="FFFFFF">
                      <a:alpha val="99000"/>
                    </a:srgbClr>
                  </a:solidFill>
                  <a:latin typeface="Segoe UI Light" pitchFamily="34" charset="0"/>
                </a:rPr>
                <a:t>IaaS</a:t>
              </a:r>
              <a:r>
                <a:rPr lang="en-US" sz="4000" dirty="0">
                  <a:solidFill>
                    <a:srgbClr val="FFFFFF">
                      <a:alpha val="99000"/>
                    </a:srgbClr>
                  </a:solidFill>
                  <a:latin typeface="Segoe UI Light" pitchFamily="34" charset="0"/>
                </a:rPr>
                <a:t> VMs</a:t>
              </a:r>
            </a:p>
          </p:txBody>
        </p:sp>
        <p:sp>
          <p:nvSpPr>
            <p:cNvPr id="27" name="Virtual Machine Icon"/>
            <p:cNvSpPr>
              <a:spLocks noChangeAspect="1"/>
            </p:cNvSpPr>
            <p:nvPr/>
          </p:nvSpPr>
          <p:spPr>
            <a:xfrm>
              <a:off x="9276579" y="4020388"/>
              <a:ext cx="947504" cy="880297"/>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3" rIns="45713" rtlCol="0" anchor="ctr"/>
            <a:lstStyle/>
            <a:p>
              <a:pPr algn="ctr" defTabSz="914367"/>
              <a:endParaRPr lang="en-US" sz="3200">
                <a:solidFill>
                  <a:srgbClr val="FFFFFF"/>
                </a:solidFill>
              </a:endParaRPr>
            </a:p>
          </p:txBody>
        </p:sp>
      </p:grpSp>
    </p:spTree>
    <p:extLst>
      <p:ext uri="{BB962C8B-B14F-4D97-AF65-F5344CB8AC3E}">
        <p14:creationId xmlns:p14="http://schemas.microsoft.com/office/powerpoint/2010/main" val="1511877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s for Storage</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46869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lob Storage</a:t>
            </a:r>
            <a:endParaRPr lang="en-US" dirty="0"/>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183" y="1412044"/>
            <a:ext cx="11598982" cy="4930336"/>
          </a:xfrm>
          <a:prstGeom prst="rect">
            <a:avLst/>
          </a:prstGeom>
        </p:spPr>
      </p:pic>
    </p:spTree>
    <p:extLst>
      <p:ext uri="{BB962C8B-B14F-4D97-AF65-F5344CB8AC3E}">
        <p14:creationId xmlns:p14="http://schemas.microsoft.com/office/powerpoint/2010/main" val="32452649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493" y="229056"/>
            <a:ext cx="11147432" cy="747791"/>
          </a:xfrm>
        </p:spPr>
        <p:txBody>
          <a:bodyPr/>
          <a:lstStyle/>
          <a:p>
            <a:r>
              <a:rPr lang="en-US" smtClean="0"/>
              <a:t>Table Storage</a:t>
            </a:r>
            <a:endParaRPr lang="en-US" dirty="0"/>
          </a:p>
        </p:txBody>
      </p:sp>
      <p:grpSp>
        <p:nvGrpSpPr>
          <p:cNvPr id="12" name="Group 11"/>
          <p:cNvGrpSpPr/>
          <p:nvPr/>
        </p:nvGrpSpPr>
        <p:grpSpPr>
          <a:xfrm>
            <a:off x="521491" y="1880033"/>
            <a:ext cx="3245660" cy="3245660"/>
            <a:chOff x="1684496" y="2242502"/>
            <a:chExt cx="3246120" cy="3246120"/>
          </a:xfrm>
        </p:grpSpPr>
        <p:sp>
          <p:nvSpPr>
            <p:cNvPr id="9" name="Rectangle 8"/>
            <p:cNvSpPr/>
            <p:nvPr/>
          </p:nvSpPr>
          <p:spPr bwMode="auto">
            <a:xfrm>
              <a:off x="1684496" y="2242502"/>
              <a:ext cx="3246120" cy="3246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21"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4956" y="2640266"/>
              <a:ext cx="2705199" cy="2450592"/>
            </a:xfrm>
            <a:prstGeom prst="rect">
              <a:avLst/>
            </a:prstGeom>
            <a:noFill/>
            <a:ln>
              <a:noFill/>
            </a:ln>
          </p:spPr>
        </p:pic>
      </p:grpSp>
      <p:sp>
        <p:nvSpPr>
          <p:cNvPr id="7" name="Rectangle 6"/>
          <p:cNvSpPr/>
          <p:nvPr/>
        </p:nvSpPr>
        <p:spPr>
          <a:xfrm>
            <a:off x="4238575" y="1880033"/>
            <a:ext cx="7430351" cy="3245660"/>
          </a:xfrm>
          <a:prstGeom prst="rect">
            <a:avLst/>
          </a:prstGeom>
          <a:noFill/>
        </p:spPr>
        <p:txBody>
          <a:bodyPr lIns="91416" tIns="45708" rIns="91416" bIns="45708" anchor="t">
            <a:noAutofit/>
          </a:bodyPr>
          <a:lstStyle/>
          <a:p>
            <a:pPr defTabSz="914367">
              <a:lnSpc>
                <a:spcPct val="90000"/>
              </a:lnSpc>
              <a:spcAft>
                <a:spcPts val="1799"/>
              </a:spcAft>
            </a:pPr>
            <a:r>
              <a:rPr lang="en-US" sz="2400" dirty="0">
                <a:solidFill>
                  <a:srgbClr val="107C10">
                    <a:alpha val="99000"/>
                  </a:srgbClr>
                </a:solidFill>
              </a:rPr>
              <a:t>Table Storage is used by applications requiring storing large amounts of data storage that need additional structure at no performance cost.</a:t>
            </a:r>
          </a:p>
          <a:p>
            <a:pPr defTabSz="914367">
              <a:lnSpc>
                <a:spcPct val="90000"/>
              </a:lnSpc>
              <a:spcAft>
                <a:spcPts val="1799"/>
              </a:spcAft>
            </a:pPr>
            <a:r>
              <a:rPr lang="en-US" sz="2400" dirty="0">
                <a:solidFill>
                  <a:srgbClr val="107C10">
                    <a:alpha val="99000"/>
                  </a:srgbClr>
                </a:solidFill>
              </a:rPr>
              <a:t>While a table stores structured data, it does not provide any way to represent relationships between the data, sometimes called a </a:t>
            </a:r>
            <a:r>
              <a:rPr lang="en-US" sz="2400" dirty="0" err="1">
                <a:solidFill>
                  <a:srgbClr val="107C10">
                    <a:alpha val="99000"/>
                  </a:srgbClr>
                </a:solidFill>
              </a:rPr>
              <a:t>NoSQL</a:t>
            </a:r>
            <a:r>
              <a:rPr lang="en-US" sz="2400" dirty="0">
                <a:solidFill>
                  <a:srgbClr val="107C10">
                    <a:alpha val="99000"/>
                  </a:srgbClr>
                </a:solidFill>
              </a:rPr>
              <a:t> database. </a:t>
            </a:r>
          </a:p>
          <a:p>
            <a:pPr defTabSz="914367">
              <a:lnSpc>
                <a:spcPct val="90000"/>
              </a:lnSpc>
              <a:spcAft>
                <a:spcPts val="1799"/>
              </a:spcAft>
            </a:pPr>
            <a:r>
              <a:rPr lang="en-US" sz="2400" dirty="0">
                <a:solidFill>
                  <a:srgbClr val="107C10">
                    <a:alpha val="99000"/>
                  </a:srgbClr>
                </a:solidFill>
              </a:rPr>
              <a:t>You can use SQL Azure for relational database service on Windows Azure. </a:t>
            </a:r>
          </a:p>
          <a:p>
            <a:pPr defTabSz="914367">
              <a:lnSpc>
                <a:spcPct val="90000"/>
              </a:lnSpc>
              <a:spcAft>
                <a:spcPts val="1799"/>
              </a:spcAft>
            </a:pPr>
            <a:endParaRPr lang="en-US" sz="2400" dirty="0">
              <a:solidFill>
                <a:srgbClr val="107C10">
                  <a:alpha val="99000"/>
                </a:srgbClr>
              </a:solidFill>
            </a:endParaRPr>
          </a:p>
        </p:txBody>
      </p:sp>
    </p:spTree>
    <p:extLst>
      <p:ext uri="{BB962C8B-B14F-4D97-AF65-F5344CB8AC3E}">
        <p14:creationId xmlns:p14="http://schemas.microsoft.com/office/powerpoint/2010/main" val="58718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493" y="229056"/>
            <a:ext cx="11147432" cy="747791"/>
          </a:xfrm>
        </p:spPr>
        <p:txBody>
          <a:bodyPr/>
          <a:lstStyle/>
          <a:p>
            <a:r>
              <a:rPr lang="en-US" smtClean="0"/>
              <a:t> Queues</a:t>
            </a:r>
            <a:endParaRPr lang="en-US" dirty="0"/>
          </a:p>
        </p:txBody>
      </p:sp>
      <p:sp>
        <p:nvSpPr>
          <p:cNvPr id="11" name="Rectangle 10"/>
          <p:cNvSpPr/>
          <p:nvPr/>
        </p:nvSpPr>
        <p:spPr bwMode="auto">
          <a:xfrm>
            <a:off x="521491" y="1880033"/>
            <a:ext cx="3245660" cy="32456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a:xfrm>
            <a:off x="4238575" y="1880033"/>
            <a:ext cx="7430351" cy="3245660"/>
          </a:xfrm>
          <a:prstGeom prst="rect">
            <a:avLst/>
          </a:prstGeom>
          <a:noFill/>
        </p:spPr>
        <p:txBody>
          <a:bodyPr lIns="91416" tIns="45708" rIns="91416" bIns="45708" anchor="t">
            <a:noAutofit/>
          </a:bodyPr>
          <a:lstStyle/>
          <a:p>
            <a:pPr defTabSz="914367">
              <a:lnSpc>
                <a:spcPct val="90000"/>
              </a:lnSpc>
              <a:spcAft>
                <a:spcPts val="1799"/>
              </a:spcAft>
            </a:pPr>
            <a:r>
              <a:rPr lang="en-US" sz="2400" dirty="0">
                <a:solidFill>
                  <a:srgbClr val="107C10">
                    <a:alpha val="99000"/>
                  </a:srgbClr>
                </a:solidFill>
              </a:rPr>
              <a:t>Enables workflow between roles.</a:t>
            </a:r>
          </a:p>
          <a:p>
            <a:pPr defTabSz="914367">
              <a:lnSpc>
                <a:spcPct val="90000"/>
              </a:lnSpc>
              <a:spcAft>
                <a:spcPts val="1799"/>
              </a:spcAft>
            </a:pPr>
            <a:r>
              <a:rPr lang="en-US" sz="2400" dirty="0">
                <a:solidFill>
                  <a:srgbClr val="107C10">
                    <a:alpha val="99000"/>
                  </a:srgbClr>
                </a:solidFill>
              </a:rPr>
              <a:t>Queues are used for reliable, persistent messaging between applications. </a:t>
            </a:r>
          </a:p>
          <a:p>
            <a:pPr defTabSz="914367">
              <a:lnSpc>
                <a:spcPct val="90000"/>
              </a:lnSpc>
              <a:spcAft>
                <a:spcPts val="1799"/>
              </a:spcAft>
            </a:pPr>
            <a:r>
              <a:rPr lang="en-US" sz="2400" dirty="0">
                <a:solidFill>
                  <a:srgbClr val="107C10">
                    <a:alpha val="99000"/>
                  </a:srgbClr>
                </a:solidFill>
              </a:rPr>
              <a:t>You can use Queues to transfer messages between applications </a:t>
            </a:r>
            <a:br>
              <a:rPr lang="en-US" sz="2400" dirty="0">
                <a:solidFill>
                  <a:srgbClr val="107C10">
                    <a:alpha val="99000"/>
                  </a:srgbClr>
                </a:solidFill>
              </a:rPr>
            </a:br>
            <a:r>
              <a:rPr lang="en-US" sz="2400" dirty="0">
                <a:solidFill>
                  <a:srgbClr val="107C10">
                    <a:alpha val="99000"/>
                  </a:srgbClr>
                </a:solidFill>
              </a:rPr>
              <a:t>or services in Windows Azure.</a:t>
            </a:r>
          </a:p>
        </p:txBody>
      </p:sp>
      <p:sp>
        <p:nvSpPr>
          <p:cNvPr id="10" name="Freeform 9"/>
          <p:cNvSpPr>
            <a:spLocks noEditPoints="1"/>
          </p:cNvSpPr>
          <p:nvPr/>
        </p:nvSpPr>
        <p:spPr bwMode="auto">
          <a:xfrm>
            <a:off x="911770" y="2340668"/>
            <a:ext cx="2465105" cy="2324391"/>
          </a:xfrm>
          <a:custGeom>
            <a:avLst/>
            <a:gdLst>
              <a:gd name="T0" fmla="*/ 611 w 801"/>
              <a:gd name="T1" fmla="*/ 225 h 755"/>
              <a:gd name="T2" fmla="*/ 556 w 801"/>
              <a:gd name="T3" fmla="*/ 170 h 755"/>
              <a:gd name="T4" fmla="*/ 500 w 801"/>
              <a:gd name="T5" fmla="*/ 225 h 755"/>
              <a:gd name="T6" fmla="*/ 556 w 801"/>
              <a:gd name="T7" fmla="*/ 280 h 755"/>
              <a:gd name="T8" fmla="*/ 611 w 801"/>
              <a:gd name="T9" fmla="*/ 225 h 755"/>
              <a:gd name="T10" fmla="*/ 197 w 801"/>
              <a:gd name="T11" fmla="*/ 528 h 755"/>
              <a:gd name="T12" fmla="*/ 253 w 801"/>
              <a:gd name="T13" fmla="*/ 583 h 755"/>
              <a:gd name="T14" fmla="*/ 308 w 801"/>
              <a:gd name="T15" fmla="*/ 528 h 755"/>
              <a:gd name="T16" fmla="*/ 253 w 801"/>
              <a:gd name="T17" fmla="*/ 473 h 755"/>
              <a:gd name="T18" fmla="*/ 197 w 801"/>
              <a:gd name="T19" fmla="*/ 528 h 755"/>
              <a:gd name="T20" fmla="*/ 710 w 801"/>
              <a:gd name="T21" fmla="*/ 73 h 755"/>
              <a:gd name="T22" fmla="*/ 705 w 801"/>
              <a:gd name="T23" fmla="*/ 68 h 755"/>
              <a:gd name="T24" fmla="*/ 541 w 801"/>
              <a:gd name="T25" fmla="*/ 0 h 755"/>
              <a:gd name="T26" fmla="*/ 377 w 801"/>
              <a:gd name="T27" fmla="*/ 68 h 755"/>
              <a:gd name="T28" fmla="*/ 287 w 801"/>
              <a:gd name="T29" fmla="*/ 158 h 755"/>
              <a:gd name="T30" fmla="*/ 343 w 801"/>
              <a:gd name="T31" fmla="*/ 158 h 755"/>
              <a:gd name="T32" fmla="*/ 343 w 801"/>
              <a:gd name="T33" fmla="*/ 215 h 755"/>
              <a:gd name="T34" fmla="*/ 434 w 801"/>
              <a:gd name="T35" fmla="*/ 124 h 755"/>
              <a:gd name="T36" fmla="*/ 541 w 801"/>
              <a:gd name="T37" fmla="*/ 80 h 755"/>
              <a:gd name="T38" fmla="*/ 648 w 801"/>
              <a:gd name="T39" fmla="*/ 124 h 755"/>
              <a:gd name="T40" fmla="*/ 654 w 801"/>
              <a:gd name="T41" fmla="*/ 130 h 755"/>
              <a:gd name="T42" fmla="*/ 654 w 801"/>
              <a:gd name="T43" fmla="*/ 344 h 755"/>
              <a:gd name="T44" fmla="*/ 367 w 801"/>
              <a:gd name="T45" fmla="*/ 631 h 755"/>
              <a:gd name="T46" fmla="*/ 260 w 801"/>
              <a:gd name="T47" fmla="*/ 675 h 755"/>
              <a:gd name="T48" fmla="*/ 153 w 801"/>
              <a:gd name="T49" fmla="*/ 631 h 755"/>
              <a:gd name="T50" fmla="*/ 147 w 801"/>
              <a:gd name="T51" fmla="*/ 625 h 755"/>
              <a:gd name="T52" fmla="*/ 147 w 801"/>
              <a:gd name="T53" fmla="*/ 411 h 755"/>
              <a:gd name="T54" fmla="*/ 216 w 801"/>
              <a:gd name="T55" fmla="*/ 342 h 755"/>
              <a:gd name="T56" fmla="*/ 276 w 801"/>
              <a:gd name="T57" fmla="*/ 403 h 755"/>
              <a:gd name="T58" fmla="*/ 276 w 801"/>
              <a:gd name="T59" fmla="*/ 225 h 755"/>
              <a:gd name="T60" fmla="*/ 98 w 801"/>
              <a:gd name="T61" fmla="*/ 225 h 755"/>
              <a:gd name="T62" fmla="*/ 159 w 801"/>
              <a:gd name="T63" fmla="*/ 286 h 755"/>
              <a:gd name="T64" fmla="*/ 91 w 801"/>
              <a:gd name="T65" fmla="*/ 354 h 755"/>
              <a:gd name="T66" fmla="*/ 91 w 801"/>
              <a:gd name="T67" fmla="*/ 682 h 755"/>
              <a:gd name="T68" fmla="*/ 96 w 801"/>
              <a:gd name="T69" fmla="*/ 688 h 755"/>
              <a:gd name="T70" fmla="*/ 260 w 801"/>
              <a:gd name="T71" fmla="*/ 755 h 755"/>
              <a:gd name="T72" fmla="*/ 424 w 801"/>
              <a:gd name="T73" fmla="*/ 688 h 755"/>
              <a:gd name="T74" fmla="*/ 710 w 801"/>
              <a:gd name="T75" fmla="*/ 401 h 755"/>
              <a:gd name="T76" fmla="*/ 710 w 801"/>
              <a:gd name="T77" fmla="*/ 73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1" h="755">
                <a:moveTo>
                  <a:pt x="611" y="225"/>
                </a:moveTo>
                <a:cubicBezTo>
                  <a:pt x="611" y="194"/>
                  <a:pt x="586" y="170"/>
                  <a:pt x="556" y="170"/>
                </a:cubicBezTo>
                <a:cubicBezTo>
                  <a:pt x="525" y="170"/>
                  <a:pt x="500" y="194"/>
                  <a:pt x="500" y="225"/>
                </a:cubicBezTo>
                <a:cubicBezTo>
                  <a:pt x="500" y="255"/>
                  <a:pt x="525" y="280"/>
                  <a:pt x="556" y="280"/>
                </a:cubicBezTo>
                <a:cubicBezTo>
                  <a:pt x="586" y="280"/>
                  <a:pt x="611" y="255"/>
                  <a:pt x="611" y="225"/>
                </a:cubicBezTo>
                <a:close/>
                <a:moveTo>
                  <a:pt x="197" y="528"/>
                </a:moveTo>
                <a:cubicBezTo>
                  <a:pt x="197" y="559"/>
                  <a:pt x="222" y="583"/>
                  <a:pt x="253" y="583"/>
                </a:cubicBezTo>
                <a:cubicBezTo>
                  <a:pt x="283" y="583"/>
                  <a:pt x="308" y="559"/>
                  <a:pt x="308" y="528"/>
                </a:cubicBezTo>
                <a:cubicBezTo>
                  <a:pt x="308" y="497"/>
                  <a:pt x="283" y="473"/>
                  <a:pt x="253" y="473"/>
                </a:cubicBezTo>
                <a:cubicBezTo>
                  <a:pt x="222" y="473"/>
                  <a:pt x="197" y="497"/>
                  <a:pt x="197" y="528"/>
                </a:cubicBezTo>
                <a:close/>
                <a:moveTo>
                  <a:pt x="710" y="73"/>
                </a:moveTo>
                <a:cubicBezTo>
                  <a:pt x="705" y="68"/>
                  <a:pt x="705" y="68"/>
                  <a:pt x="705" y="68"/>
                </a:cubicBezTo>
                <a:cubicBezTo>
                  <a:pt x="661" y="24"/>
                  <a:pt x="603" y="0"/>
                  <a:pt x="541" y="0"/>
                </a:cubicBezTo>
                <a:cubicBezTo>
                  <a:pt x="479" y="0"/>
                  <a:pt x="421" y="24"/>
                  <a:pt x="377" y="68"/>
                </a:cubicBezTo>
                <a:cubicBezTo>
                  <a:pt x="287" y="158"/>
                  <a:pt x="287" y="158"/>
                  <a:pt x="287" y="158"/>
                </a:cubicBezTo>
                <a:cubicBezTo>
                  <a:pt x="343" y="158"/>
                  <a:pt x="343" y="158"/>
                  <a:pt x="343" y="158"/>
                </a:cubicBezTo>
                <a:cubicBezTo>
                  <a:pt x="343" y="215"/>
                  <a:pt x="343" y="215"/>
                  <a:pt x="343" y="215"/>
                </a:cubicBezTo>
                <a:cubicBezTo>
                  <a:pt x="434" y="124"/>
                  <a:pt x="434" y="124"/>
                  <a:pt x="434" y="124"/>
                </a:cubicBezTo>
                <a:cubicBezTo>
                  <a:pt x="463" y="96"/>
                  <a:pt x="501" y="80"/>
                  <a:pt x="541" y="80"/>
                </a:cubicBezTo>
                <a:cubicBezTo>
                  <a:pt x="582" y="80"/>
                  <a:pt x="620" y="96"/>
                  <a:pt x="648" y="124"/>
                </a:cubicBezTo>
                <a:cubicBezTo>
                  <a:pt x="654" y="130"/>
                  <a:pt x="654" y="130"/>
                  <a:pt x="654" y="130"/>
                </a:cubicBezTo>
                <a:cubicBezTo>
                  <a:pt x="713" y="189"/>
                  <a:pt x="713" y="285"/>
                  <a:pt x="654" y="344"/>
                </a:cubicBezTo>
                <a:cubicBezTo>
                  <a:pt x="367" y="631"/>
                  <a:pt x="367" y="631"/>
                  <a:pt x="367" y="631"/>
                </a:cubicBezTo>
                <a:cubicBezTo>
                  <a:pt x="339" y="660"/>
                  <a:pt x="301" y="675"/>
                  <a:pt x="260" y="675"/>
                </a:cubicBezTo>
                <a:cubicBezTo>
                  <a:pt x="220" y="675"/>
                  <a:pt x="182" y="660"/>
                  <a:pt x="153" y="631"/>
                </a:cubicBezTo>
                <a:cubicBezTo>
                  <a:pt x="147" y="625"/>
                  <a:pt x="147" y="625"/>
                  <a:pt x="147" y="625"/>
                </a:cubicBezTo>
                <a:cubicBezTo>
                  <a:pt x="88" y="566"/>
                  <a:pt x="88" y="470"/>
                  <a:pt x="147" y="411"/>
                </a:cubicBezTo>
                <a:cubicBezTo>
                  <a:pt x="216" y="342"/>
                  <a:pt x="216" y="342"/>
                  <a:pt x="216" y="342"/>
                </a:cubicBezTo>
                <a:cubicBezTo>
                  <a:pt x="276" y="403"/>
                  <a:pt x="276" y="403"/>
                  <a:pt x="276" y="403"/>
                </a:cubicBezTo>
                <a:cubicBezTo>
                  <a:pt x="276" y="225"/>
                  <a:pt x="276" y="225"/>
                  <a:pt x="276" y="225"/>
                </a:cubicBezTo>
                <a:cubicBezTo>
                  <a:pt x="98" y="225"/>
                  <a:pt x="98" y="225"/>
                  <a:pt x="98" y="225"/>
                </a:cubicBezTo>
                <a:cubicBezTo>
                  <a:pt x="159" y="286"/>
                  <a:pt x="159" y="286"/>
                  <a:pt x="159" y="286"/>
                </a:cubicBezTo>
                <a:cubicBezTo>
                  <a:pt x="91" y="354"/>
                  <a:pt x="91" y="354"/>
                  <a:pt x="91" y="354"/>
                </a:cubicBezTo>
                <a:cubicBezTo>
                  <a:pt x="0" y="445"/>
                  <a:pt x="0" y="592"/>
                  <a:pt x="91" y="682"/>
                </a:cubicBezTo>
                <a:cubicBezTo>
                  <a:pt x="96" y="688"/>
                  <a:pt x="96" y="688"/>
                  <a:pt x="96" y="688"/>
                </a:cubicBezTo>
                <a:cubicBezTo>
                  <a:pt x="140" y="731"/>
                  <a:pt x="198" y="755"/>
                  <a:pt x="260" y="755"/>
                </a:cubicBezTo>
                <a:cubicBezTo>
                  <a:pt x="322" y="755"/>
                  <a:pt x="380" y="731"/>
                  <a:pt x="424" y="688"/>
                </a:cubicBezTo>
                <a:cubicBezTo>
                  <a:pt x="710" y="401"/>
                  <a:pt x="710" y="401"/>
                  <a:pt x="710" y="401"/>
                </a:cubicBezTo>
                <a:cubicBezTo>
                  <a:pt x="801" y="311"/>
                  <a:pt x="801" y="164"/>
                  <a:pt x="710" y="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367"/>
            <a:endParaRPr lang="en-US">
              <a:solidFill>
                <a:srgbClr val="505050"/>
              </a:solidFill>
            </a:endParaRPr>
          </a:p>
        </p:txBody>
      </p:sp>
    </p:spTree>
    <p:extLst>
      <p:ext uri="{BB962C8B-B14F-4D97-AF65-F5344CB8AC3E}">
        <p14:creationId xmlns:p14="http://schemas.microsoft.com/office/powerpoint/2010/main" val="330909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71" y="497"/>
          <a:ext cx="158769" cy="158728"/>
        </p:xfrm>
        <a:graphic>
          <a:graphicData uri="http://schemas.openxmlformats.org/presentationml/2006/ole">
            <mc:AlternateContent xmlns:mc="http://schemas.openxmlformats.org/markup-compatibility/2006">
              <mc:Choice xmlns:v="urn:schemas-microsoft-com:vml" Requires="v">
                <p:oleObj spid="_x0000_s20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871" y="497"/>
                        <a:ext cx="158769" cy="158728"/>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dirty="0" smtClean="0"/>
              <a:t>Windows Azure SQL Database</a:t>
            </a:r>
            <a:endParaRPr lang="en-US" dirty="0"/>
          </a:p>
        </p:txBody>
      </p:sp>
      <p:sp>
        <p:nvSpPr>
          <p:cNvPr id="4" name="Rectangle 3"/>
          <p:cNvSpPr/>
          <p:nvPr/>
        </p:nvSpPr>
        <p:spPr bwMode="auto">
          <a:xfrm>
            <a:off x="6143907" y="1402051"/>
            <a:ext cx="2861666" cy="1899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IN" sz="2800" dirty="0">
                <a:ln>
                  <a:solidFill>
                    <a:srgbClr val="FFFFFF">
                      <a:alpha val="0"/>
                    </a:srgbClr>
                  </a:solidFill>
                </a:ln>
                <a:solidFill>
                  <a:srgbClr val="FFFFFF"/>
                </a:solidFill>
                <a:latin typeface="Segoe UI Light"/>
                <a:ea typeface="Segoe UI" pitchFamily="34" charset="0"/>
                <a:cs typeface="Segoe UI" pitchFamily="34" charset="0"/>
              </a:rPr>
              <a:t>Fast &amp; Flexible Platform</a:t>
            </a:r>
          </a:p>
        </p:txBody>
      </p:sp>
      <p:sp>
        <p:nvSpPr>
          <p:cNvPr id="27" name="Rectangle 26"/>
          <p:cNvSpPr/>
          <p:nvPr/>
        </p:nvSpPr>
        <p:spPr bwMode="auto">
          <a:xfrm>
            <a:off x="6155144" y="3363143"/>
            <a:ext cx="2861666" cy="3034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Rapid Application Development</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Easy Database Portability</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Familiar Development Tools</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Global Deployment</a:t>
            </a:r>
          </a:p>
        </p:txBody>
      </p:sp>
      <p:grpSp>
        <p:nvGrpSpPr>
          <p:cNvPr id="9" name="Group 8"/>
          <p:cNvGrpSpPr/>
          <p:nvPr/>
        </p:nvGrpSpPr>
        <p:grpSpPr>
          <a:xfrm>
            <a:off x="274372" y="1402051"/>
            <a:ext cx="2861666" cy="4995154"/>
            <a:chOff x="273546" y="1401763"/>
            <a:chExt cx="2862072" cy="4995862"/>
          </a:xfrm>
        </p:grpSpPr>
        <p:sp>
          <p:nvSpPr>
            <p:cNvPr id="25" name="Rectangle 24"/>
            <p:cNvSpPr/>
            <p:nvPr/>
          </p:nvSpPr>
          <p:spPr bwMode="auto">
            <a:xfrm>
              <a:off x="273546" y="1401763"/>
              <a:ext cx="2862072" cy="18993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US" sz="2800" dirty="0">
                  <a:ln>
                    <a:solidFill>
                      <a:srgbClr val="FFFFFF">
                        <a:alpha val="0"/>
                      </a:srgbClr>
                    </a:solidFill>
                  </a:ln>
                  <a:solidFill>
                    <a:srgbClr val="FFFFFF"/>
                  </a:solidFill>
                  <a:latin typeface="Segoe UI Light"/>
                  <a:ea typeface="Segoe UI" pitchFamily="34" charset="0"/>
                  <a:cs typeface="Segoe UI" pitchFamily="34" charset="0"/>
                </a:rPr>
                <a:t>Managed Platform &amp; Infrastructure</a:t>
              </a:r>
            </a:p>
          </p:txBody>
        </p:sp>
        <p:sp>
          <p:nvSpPr>
            <p:cNvPr id="29" name="Rectangle 28"/>
            <p:cNvSpPr/>
            <p:nvPr/>
          </p:nvSpPr>
          <p:spPr bwMode="auto">
            <a:xfrm>
              <a:off x="273546"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fontAlgn="base">
                <a:spcBef>
                  <a:spcPts val="1200"/>
                </a:spcBef>
                <a:spcAft>
                  <a:spcPct val="0"/>
                </a:spcAft>
                <a:tabLst>
                  <a:tab pos="685668" algn="l"/>
                </a:tabLst>
              </a:pPr>
              <a:r>
                <a:rPr lang="en-IN" dirty="0">
                  <a:ln>
                    <a:solidFill>
                      <a:srgbClr val="FFFFFF">
                        <a:alpha val="0"/>
                      </a:srgbClr>
                    </a:solidFill>
                  </a:ln>
                  <a:solidFill>
                    <a:srgbClr val="505050"/>
                  </a:solidFill>
                  <a:ea typeface="Segoe UI" pitchFamily="34" charset="0"/>
                  <a:cs typeface="Segoe UI" pitchFamily="34" charset="0"/>
                </a:rPr>
                <a:t>Fully managed (no patching of DB or OS)</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Built in HA for Database 99.99% SLA</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Simplified Azure Management Portal </a:t>
              </a:r>
            </a:p>
          </p:txBody>
        </p:sp>
        <p:sp>
          <p:nvSpPr>
            <p:cNvPr id="21" name="Oval 2"/>
            <p:cNvSpPr>
              <a:spLocks noChangeAspect="1"/>
            </p:cNvSpPr>
            <p:nvPr/>
          </p:nvSpPr>
          <p:spPr bwMode="auto">
            <a:xfrm>
              <a:off x="2262598" y="1526174"/>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grpSp>
      <p:grpSp>
        <p:nvGrpSpPr>
          <p:cNvPr id="5" name="Group 4"/>
          <p:cNvGrpSpPr/>
          <p:nvPr/>
        </p:nvGrpSpPr>
        <p:grpSpPr>
          <a:xfrm>
            <a:off x="9078676" y="1402051"/>
            <a:ext cx="2861666" cy="4995154"/>
            <a:chOff x="9079099" y="1401763"/>
            <a:chExt cx="2862072" cy="4995862"/>
          </a:xfrm>
        </p:grpSpPr>
        <p:sp>
          <p:nvSpPr>
            <p:cNvPr id="26" name="Rectangle 25"/>
            <p:cNvSpPr/>
            <p:nvPr/>
          </p:nvSpPr>
          <p:spPr bwMode="auto">
            <a:xfrm>
              <a:off x="9079099" y="1401763"/>
              <a:ext cx="2862072" cy="1899376"/>
            </a:xfrm>
            <a:prstGeom prst="rect">
              <a:avLst/>
            </a:prstGeom>
            <a:solidFill>
              <a:srgbClr val="33C7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IN" sz="2800" dirty="0">
                  <a:ln>
                    <a:solidFill>
                      <a:srgbClr val="FFFFFF">
                        <a:alpha val="0"/>
                      </a:srgbClr>
                    </a:solidFill>
                  </a:ln>
                  <a:solidFill>
                    <a:srgbClr val="FFFFFF"/>
                  </a:solidFill>
                  <a:latin typeface="Segoe UI Light"/>
                  <a:ea typeface="Segoe UI" pitchFamily="34" charset="0"/>
                  <a:cs typeface="Segoe UI" pitchFamily="34" charset="0"/>
                </a:rPr>
                <a:t/>
              </a:r>
              <a:br>
                <a:rPr lang="en-IN" sz="2800" dirty="0">
                  <a:ln>
                    <a:solidFill>
                      <a:srgbClr val="FFFFFF">
                        <a:alpha val="0"/>
                      </a:srgbClr>
                    </a:solidFill>
                  </a:ln>
                  <a:solidFill>
                    <a:srgbClr val="FFFFFF"/>
                  </a:solidFill>
                  <a:latin typeface="Segoe UI Light"/>
                  <a:ea typeface="Segoe UI" pitchFamily="34" charset="0"/>
                  <a:cs typeface="Segoe UI" pitchFamily="34" charset="0"/>
                </a:rPr>
              </a:br>
              <a:r>
                <a:rPr lang="en-IN" sz="2800" dirty="0">
                  <a:ln>
                    <a:solidFill>
                      <a:srgbClr val="FFFFFF">
                        <a:alpha val="0"/>
                      </a:srgbClr>
                    </a:solidFill>
                  </a:ln>
                  <a:solidFill>
                    <a:srgbClr val="FFFFFF"/>
                  </a:solidFill>
                  <a:latin typeface="Segoe UI Light"/>
                  <a:ea typeface="Segoe UI" pitchFamily="34" charset="0"/>
                  <a:cs typeface="Segoe UI" pitchFamily="34" charset="0"/>
                </a:rPr>
                <a:t>Based on </a:t>
              </a:r>
              <a:br>
                <a:rPr lang="en-IN" sz="2800" dirty="0">
                  <a:ln>
                    <a:solidFill>
                      <a:srgbClr val="FFFFFF">
                        <a:alpha val="0"/>
                      </a:srgbClr>
                    </a:solidFill>
                  </a:ln>
                  <a:solidFill>
                    <a:srgbClr val="FFFFFF"/>
                  </a:solidFill>
                  <a:latin typeface="Segoe UI Light"/>
                  <a:ea typeface="Segoe UI" pitchFamily="34" charset="0"/>
                  <a:cs typeface="Segoe UI" pitchFamily="34" charset="0"/>
                </a:rPr>
              </a:br>
              <a:r>
                <a:rPr lang="en-IN" sz="2800" dirty="0">
                  <a:ln>
                    <a:solidFill>
                      <a:srgbClr val="FFFFFF">
                        <a:alpha val="0"/>
                      </a:srgbClr>
                    </a:solidFill>
                  </a:ln>
                  <a:solidFill>
                    <a:srgbClr val="FFFFFF"/>
                  </a:solidFill>
                  <a:latin typeface="Segoe UI Light"/>
                  <a:ea typeface="Segoe UI" pitchFamily="34" charset="0"/>
                  <a:cs typeface="Segoe UI" pitchFamily="34" charset="0"/>
                </a:rPr>
                <a:t>SQL Server Technology</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Common Architecture with SQL Server</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Insights with SQL Reporting</a:t>
              </a:r>
            </a:p>
          </p:txBody>
        </p:sp>
        <p:grpSp>
          <p:nvGrpSpPr>
            <p:cNvPr id="31" name="Group 30"/>
            <p:cNvGrpSpPr/>
            <p:nvPr/>
          </p:nvGrpSpPr>
          <p:grpSpPr>
            <a:xfrm>
              <a:off x="11026770" y="1541196"/>
              <a:ext cx="731780" cy="604992"/>
              <a:chOff x="2459413" y="5035683"/>
              <a:chExt cx="1057935" cy="874640"/>
            </a:xfrm>
          </p:grpSpPr>
          <p:grpSp>
            <p:nvGrpSpPr>
              <p:cNvPr id="32" name="Group 31"/>
              <p:cNvGrpSpPr/>
              <p:nvPr>
                <p:custDataLst>
                  <p:tags r:id="rId4"/>
                </p:custDataLst>
              </p:nvPr>
            </p:nvGrpSpPr>
            <p:grpSpPr>
              <a:xfrm>
                <a:off x="2459413" y="5417945"/>
                <a:ext cx="1057935" cy="492378"/>
                <a:chOff x="6992524" y="2756683"/>
                <a:chExt cx="1444960" cy="672504"/>
              </a:xfrm>
              <a:solidFill>
                <a:schemeClr val="bg1"/>
              </a:solidFill>
            </p:grpSpPr>
            <p:sp>
              <p:nvSpPr>
                <p:cNvPr id="47" name="Freeform 46"/>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8" name="Freeform 47"/>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9" name="Freeform 48"/>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ln>
                      <a:solidFill>
                        <a:srgbClr val="FFFFFF">
                          <a:alpha val="0"/>
                        </a:srgbClr>
                      </a:solidFill>
                    </a:ln>
                    <a:solidFill>
                      <a:srgbClr val="FFFFFF"/>
                    </a:solidFill>
                  </a:endParaRPr>
                </a:p>
              </p:txBody>
            </p:sp>
            <p:sp>
              <p:nvSpPr>
                <p:cNvPr id="50" name="Freeform 49"/>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51" name="Freeform 50"/>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52" name="Freeform 51"/>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endParaRPr>
                </a:p>
              </p:txBody>
            </p:sp>
          </p:grpSp>
          <p:grpSp>
            <p:nvGrpSpPr>
              <p:cNvPr id="33" name="Group 32"/>
              <p:cNvGrpSpPr/>
              <p:nvPr>
                <p:custDataLst>
                  <p:tags r:id="rId5"/>
                </p:custDataLst>
              </p:nvPr>
            </p:nvGrpSpPr>
            <p:grpSpPr>
              <a:xfrm>
                <a:off x="2459413" y="5226814"/>
                <a:ext cx="1057935" cy="492378"/>
                <a:chOff x="6992524" y="2756683"/>
                <a:chExt cx="1444960" cy="672504"/>
              </a:xfrm>
              <a:solidFill>
                <a:schemeClr val="bg1"/>
              </a:solidFill>
            </p:grpSpPr>
            <p:sp>
              <p:nvSpPr>
                <p:cNvPr id="41" name="Freeform 40"/>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2" name="Freeform 41"/>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3" name="Freeform 42"/>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ln>
                      <a:solidFill>
                        <a:srgbClr val="FFFFFF">
                          <a:alpha val="0"/>
                        </a:srgbClr>
                      </a:solidFill>
                    </a:ln>
                    <a:solidFill>
                      <a:srgbClr val="FFFFFF"/>
                    </a:solidFill>
                  </a:endParaRPr>
                </a:p>
              </p:txBody>
            </p:sp>
            <p:sp>
              <p:nvSpPr>
                <p:cNvPr id="44" name="Freeform 43"/>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5" name="Freeform 44"/>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6" name="Freeform 45"/>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endParaRPr>
                </a:p>
              </p:txBody>
            </p:sp>
          </p:grpSp>
          <p:grpSp>
            <p:nvGrpSpPr>
              <p:cNvPr id="34" name="Group 33"/>
              <p:cNvGrpSpPr/>
              <p:nvPr>
                <p:custDataLst>
                  <p:tags r:id="rId6"/>
                </p:custDataLst>
              </p:nvPr>
            </p:nvGrpSpPr>
            <p:grpSpPr>
              <a:xfrm>
                <a:off x="2459413" y="5035683"/>
                <a:ext cx="1057935" cy="492378"/>
                <a:chOff x="6992524" y="2756683"/>
                <a:chExt cx="1444960" cy="672504"/>
              </a:xfrm>
              <a:solidFill>
                <a:schemeClr val="bg1"/>
              </a:solidFill>
            </p:grpSpPr>
            <p:sp>
              <p:nvSpPr>
                <p:cNvPr id="35" name="Freeform 34"/>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36" name="Freeform 35"/>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37" name="Freeform 36"/>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ln>
                      <a:solidFill>
                        <a:srgbClr val="FFFFFF">
                          <a:alpha val="0"/>
                        </a:srgbClr>
                      </a:solidFill>
                    </a:ln>
                    <a:solidFill>
                      <a:srgbClr val="FFFFFF"/>
                    </a:solidFill>
                  </a:endParaRPr>
                </a:p>
              </p:txBody>
            </p:sp>
            <p:sp>
              <p:nvSpPr>
                <p:cNvPr id="38" name="Freeform 37"/>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39" name="Freeform 38"/>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ln>
                      <a:solidFill>
                        <a:srgbClr val="FFFFFF">
                          <a:alpha val="0"/>
                        </a:srgbClr>
                      </a:solidFill>
                    </a:ln>
                    <a:solidFill>
                      <a:srgbClr val="FFFFFF"/>
                    </a:solidFill>
                  </a:endParaRPr>
                </a:p>
              </p:txBody>
            </p:sp>
            <p:sp>
              <p:nvSpPr>
                <p:cNvPr id="40" name="Freeform 39"/>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endParaRPr>
                </a:p>
              </p:txBody>
            </p:sp>
          </p:grpSp>
        </p:grpSp>
      </p:grpSp>
      <p:grpSp>
        <p:nvGrpSpPr>
          <p:cNvPr id="12" name="Group 11"/>
          <p:cNvGrpSpPr/>
          <p:nvPr/>
        </p:nvGrpSpPr>
        <p:grpSpPr>
          <a:xfrm>
            <a:off x="3209139" y="1398448"/>
            <a:ext cx="2861666" cy="4998757"/>
            <a:chOff x="3217924" y="1398158"/>
            <a:chExt cx="2862072" cy="4999467"/>
          </a:xfrm>
        </p:grpSpPr>
        <p:sp>
          <p:nvSpPr>
            <p:cNvPr id="24" name="Rectangle 23"/>
            <p:cNvSpPr/>
            <p:nvPr/>
          </p:nvSpPr>
          <p:spPr bwMode="auto">
            <a:xfrm>
              <a:off x="3217924" y="1398158"/>
              <a:ext cx="2862072" cy="18993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US" sz="2800" dirty="0">
                  <a:ln>
                    <a:solidFill>
                      <a:srgbClr val="FFFFFF">
                        <a:alpha val="0"/>
                      </a:srgbClr>
                    </a:solidFill>
                  </a:ln>
                  <a:solidFill>
                    <a:srgbClr val="FFFFFF"/>
                  </a:solidFill>
                  <a:latin typeface="Segoe UI Light"/>
                  <a:ea typeface="Segoe UI" pitchFamily="34" charset="0"/>
                  <a:cs typeface="Segoe UI" pitchFamily="34" charset="0"/>
                </a:rPr>
                <a:t>Dynamic Scal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93" fontAlgn="base">
                <a:spcBef>
                  <a:spcPts val="1200"/>
                </a:spcBef>
                <a:spcAft>
                  <a:spcPct val="0"/>
                </a:spcAft>
              </a:pPr>
              <a:r>
                <a:rPr lang="en-IN" b="1" dirty="0">
                  <a:ln>
                    <a:solidFill>
                      <a:srgbClr val="FFFFFF">
                        <a:alpha val="0"/>
                      </a:srgbClr>
                    </a:solidFill>
                  </a:ln>
                  <a:solidFill>
                    <a:srgbClr val="505050"/>
                  </a:solidFill>
                  <a:ea typeface="Segoe UI" pitchFamily="34" charset="0"/>
                  <a:cs typeface="Segoe UI" pitchFamily="34" charset="0"/>
                </a:rPr>
                <a:t>Scale Out</a:t>
              </a:r>
            </a:p>
            <a:p>
              <a:pPr defTabSz="932293" fontAlgn="base">
                <a:spcBef>
                  <a:spcPts val="1200"/>
                </a:spcBef>
                <a:spcAft>
                  <a:spcPct val="0"/>
                </a:spcAft>
              </a:pPr>
              <a:r>
                <a:rPr lang="en-IN" dirty="0">
                  <a:ln>
                    <a:solidFill>
                      <a:srgbClr val="FFFFFF">
                        <a:alpha val="0"/>
                      </a:srgbClr>
                    </a:solidFill>
                  </a:ln>
                  <a:solidFill>
                    <a:srgbClr val="505050"/>
                  </a:solidFill>
                  <a:ea typeface="Segoe UI" pitchFamily="34" charset="0"/>
                  <a:cs typeface="Segoe UI" pitchFamily="34" charset="0"/>
                </a:rPr>
                <a:t>Scale via Azure Management Portal</a:t>
              </a:r>
            </a:p>
          </p:txBody>
        </p:sp>
        <p:grpSp>
          <p:nvGrpSpPr>
            <p:cNvPr id="11" name="Group 10"/>
            <p:cNvGrpSpPr/>
            <p:nvPr/>
          </p:nvGrpSpPr>
          <p:grpSpPr>
            <a:xfrm>
              <a:off x="4955383" y="1589682"/>
              <a:ext cx="939686" cy="727038"/>
              <a:chOff x="4955383" y="1589682"/>
              <a:chExt cx="939686" cy="727038"/>
            </a:xfrm>
          </p:grpSpPr>
          <p:sp>
            <p:nvSpPr>
              <p:cNvPr id="72" name="Freeform 71"/>
              <p:cNvSpPr/>
              <p:nvPr/>
            </p:nvSpPr>
            <p:spPr bwMode="auto">
              <a:xfrm>
                <a:off x="5172977" y="1763114"/>
                <a:ext cx="712109" cy="46489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pPr>
                <a:endParaRPr lang="en-US" spc="-50" dirty="0" err="1">
                  <a:solidFill>
                    <a:srgbClr val="505050"/>
                  </a:solidFill>
                  <a:ea typeface="Segoe UI" pitchFamily="34" charset="0"/>
                  <a:cs typeface="Segoe UI" pitchFamily="34" charset="0"/>
                </a:endParaRPr>
              </a:p>
            </p:txBody>
          </p:sp>
          <p:grpSp>
            <p:nvGrpSpPr>
              <p:cNvPr id="74" name="Group 73"/>
              <p:cNvGrpSpPr/>
              <p:nvPr/>
            </p:nvGrpSpPr>
            <p:grpSpPr>
              <a:xfrm>
                <a:off x="5621691" y="2065039"/>
                <a:ext cx="273378" cy="251681"/>
                <a:chOff x="8064003" y="5042849"/>
                <a:chExt cx="307938" cy="283499"/>
              </a:xfrm>
              <a:solidFill>
                <a:schemeClr val="bg1"/>
              </a:solidFill>
            </p:grpSpPr>
            <p:sp>
              <p:nvSpPr>
                <p:cNvPr id="8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w="3175">
                  <a:solidFill>
                    <a:schemeClr val="accent2"/>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4000" dirty="0">
                    <a:solidFill>
                      <a:srgbClr val="5C2D91"/>
                    </a:solidFill>
                    <a:latin typeface="Segoe UI Light" pitchFamily="34" charset="0"/>
                  </a:endParaRPr>
                </a:p>
              </p:txBody>
            </p:sp>
            <p:sp>
              <p:nvSpPr>
                <p:cNvPr id="81" name="Rounded Rectangle 80"/>
                <p:cNvSpPr/>
                <p:nvPr/>
              </p:nvSpPr>
              <p:spPr bwMode="auto">
                <a:xfrm>
                  <a:off x="8065194" y="5080550"/>
                  <a:ext cx="305556" cy="245798"/>
                </a:xfrm>
                <a:prstGeom prst="roundRect">
                  <a:avLst>
                    <a:gd name="adj" fmla="val 10854"/>
                  </a:avLst>
                </a:pr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ln>
                      <a:solidFill>
                        <a:srgbClr val="FFFFFF">
                          <a:alpha val="0"/>
                        </a:srgbClr>
                      </a:solidFill>
                    </a:ln>
                    <a:solidFill>
                      <a:srgbClr val="FFFFFF"/>
                    </a:solidFill>
                    <a:ea typeface="Segoe UI" pitchFamily="34" charset="0"/>
                    <a:cs typeface="Segoe UI" pitchFamily="34" charset="0"/>
                  </a:endParaRPr>
                </a:p>
              </p:txBody>
            </p:sp>
          </p:grpSp>
          <p:grpSp>
            <p:nvGrpSpPr>
              <p:cNvPr id="75" name="Group 74"/>
              <p:cNvGrpSpPr/>
              <p:nvPr/>
            </p:nvGrpSpPr>
            <p:grpSpPr>
              <a:xfrm>
                <a:off x="5669160" y="2132162"/>
                <a:ext cx="178440" cy="145813"/>
                <a:chOff x="6687758" y="5407181"/>
                <a:chExt cx="200998" cy="164247"/>
              </a:xfrm>
            </p:grpSpPr>
            <p:grpSp>
              <p:nvGrpSpPr>
                <p:cNvPr id="76" name="Group 75"/>
                <p:cNvGrpSpPr/>
                <p:nvPr/>
              </p:nvGrpSpPr>
              <p:grpSpPr>
                <a:xfrm>
                  <a:off x="6687758" y="5407181"/>
                  <a:ext cx="200998" cy="164247"/>
                  <a:chOff x="6681975" y="5416705"/>
                  <a:chExt cx="200998" cy="164247"/>
                </a:xfrm>
              </p:grpSpPr>
              <p:sp>
                <p:nvSpPr>
                  <p:cNvPr id="7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367"/>
                    <a:endParaRPr lang="en-US" sz="1600">
                      <a:solidFill>
                        <a:srgbClr val="505050"/>
                      </a:solidFill>
                    </a:endParaRPr>
                  </a:p>
                </p:txBody>
              </p:sp>
              <p:sp>
                <p:nvSpPr>
                  <p:cNvPr id="7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367"/>
                    <a:endParaRPr lang="en-US" sz="1600">
                      <a:solidFill>
                        <a:srgbClr val="505050"/>
                      </a:solidFill>
                    </a:endParaRPr>
                  </a:p>
                </p:txBody>
              </p:sp>
            </p:grpSp>
            <p:sp>
              <p:nvSpPr>
                <p:cNvPr id="77" name="Oval 87"/>
                <p:cNvSpPr>
                  <a:spLocks noChangeArrowheads="1"/>
                </p:cNvSpPr>
                <p:nvPr/>
              </p:nvSpPr>
              <p:spPr bwMode="black">
                <a:xfrm rot="16200000">
                  <a:off x="6808221" y="5491269"/>
                  <a:ext cx="25087" cy="25080"/>
                </a:xfrm>
                <a:prstGeom prst="ellipse">
                  <a:avLst/>
                </a:pr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367"/>
                  <a:endParaRPr lang="en-US" sz="1600">
                    <a:solidFill>
                      <a:srgbClr val="505050"/>
                    </a:solidFill>
                  </a:endParaRPr>
                </a:p>
              </p:txBody>
            </p:sp>
          </p:grpSp>
          <p:grpSp>
            <p:nvGrpSpPr>
              <p:cNvPr id="92" name="Group 91"/>
              <p:cNvGrpSpPr/>
              <p:nvPr/>
            </p:nvGrpSpPr>
            <p:grpSpPr>
              <a:xfrm>
                <a:off x="4955383" y="1589682"/>
                <a:ext cx="444344" cy="457200"/>
                <a:chOff x="4955383" y="1589682"/>
                <a:chExt cx="444344" cy="457200"/>
              </a:xfrm>
            </p:grpSpPr>
            <p:sp>
              <p:nvSpPr>
                <p:cNvPr id="93" name="Freeform 92"/>
                <p:cNvSpPr/>
                <p:nvPr/>
              </p:nvSpPr>
              <p:spPr>
                <a:xfrm>
                  <a:off x="5041748" y="1645158"/>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prstClr val="black"/>
                    </a:solidFill>
                  </a:endParaRPr>
                </a:p>
              </p:txBody>
            </p:sp>
            <p:sp>
              <p:nvSpPr>
                <p:cNvPr id="94" name="Rectangle 6"/>
                <p:cNvSpPr/>
                <p:nvPr/>
              </p:nvSpPr>
              <p:spPr bwMode="auto">
                <a:xfrm>
                  <a:off x="4955383" y="1589682"/>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ln>
                      <a:solidFill>
                        <a:srgbClr val="FFFFFF">
                          <a:alpha val="0"/>
                        </a:srgbClr>
                      </a:solidFill>
                    </a:ln>
                    <a:solidFill>
                      <a:srgbClr val="FFFFFF"/>
                    </a:solidFill>
                    <a:ea typeface="Segoe UI" pitchFamily="34" charset="0"/>
                    <a:cs typeface="Segoe UI" pitchFamily="34" charset="0"/>
                  </a:endParaRPr>
                </a:p>
              </p:txBody>
            </p:sp>
          </p:grpSp>
        </p:grpSp>
      </p:grpSp>
      <p:grpSp>
        <p:nvGrpSpPr>
          <p:cNvPr id="54" name="Group 53"/>
          <p:cNvGrpSpPr/>
          <p:nvPr/>
        </p:nvGrpSpPr>
        <p:grpSpPr>
          <a:xfrm>
            <a:off x="8184021" y="1582558"/>
            <a:ext cx="649876" cy="590599"/>
            <a:chOff x="6795243" y="1533104"/>
            <a:chExt cx="1199134" cy="1089759"/>
          </a:xfrm>
          <a:solidFill>
            <a:schemeClr val="bg1"/>
          </a:solidFill>
        </p:grpSpPr>
        <p:grpSp>
          <p:nvGrpSpPr>
            <p:cNvPr id="55" name="Group 54"/>
            <p:cNvGrpSpPr/>
            <p:nvPr/>
          </p:nvGrpSpPr>
          <p:grpSpPr>
            <a:xfrm>
              <a:off x="6795243" y="1533104"/>
              <a:ext cx="1199134" cy="1089759"/>
              <a:chOff x="6759019" y="2673261"/>
              <a:chExt cx="2978870" cy="2707164"/>
            </a:xfrm>
            <a:grpFill/>
          </p:grpSpPr>
          <p:sp>
            <p:nvSpPr>
              <p:cNvPr id="59"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4000" dirty="0">
                  <a:solidFill>
                    <a:srgbClr val="5C2D91"/>
                  </a:solidFill>
                  <a:latin typeface="Segoe UI Light" pitchFamily="34" charset="0"/>
                </a:endParaRPr>
              </a:p>
            </p:txBody>
          </p:sp>
          <p:sp>
            <p:nvSpPr>
              <p:cNvPr id="60"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4000" dirty="0">
                  <a:solidFill>
                    <a:srgbClr val="5C2D91"/>
                  </a:solidFill>
                  <a:latin typeface="Segoe UI Light" pitchFamily="34" charset="0"/>
                </a:endParaRPr>
              </a:p>
            </p:txBody>
          </p:sp>
        </p:grpSp>
        <p:sp>
          <p:nvSpPr>
            <p:cNvPr id="56"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sp>
          <p:nvSpPr>
            <p:cNvPr id="57"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sp>
          <p:nvSpPr>
            <p:cNvPr id="58"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sz="1600" dirty="0">
                <a:solidFill>
                  <a:srgbClr val="505050"/>
                </a:solidFill>
              </a:endParaRPr>
            </a:p>
          </p:txBody>
        </p:sp>
      </p:grpSp>
    </p:spTree>
    <p:extLst>
      <p:ext uri="{BB962C8B-B14F-4D97-AF65-F5344CB8AC3E}">
        <p14:creationId xmlns:p14="http://schemas.microsoft.com/office/powerpoint/2010/main" val="87432606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9532295" y="1138010"/>
            <a:ext cx="2391958" cy="5251738"/>
          </a:xfrm>
        </p:spPr>
        <p:txBody>
          <a:bodyPr>
            <a:noAutofit/>
          </a:bodyPr>
          <a:lstStyle/>
          <a:p>
            <a:pPr>
              <a:lnSpc>
                <a:spcPts val="2800"/>
              </a:lnSpc>
            </a:pPr>
            <a:r>
              <a:rPr lang="en-US" sz="1765" dirty="0"/>
              <a:t>The Basic, Standard, and Premium service tiers offer differing feature sets, so the first step in selecting an appropriate tier is to determine the service tier that provides the minimum level of feature capabilities required for your application and business. </a:t>
            </a:r>
          </a:p>
        </p:txBody>
      </p:sp>
      <p:sp>
        <p:nvSpPr>
          <p:cNvPr id="3" name="Title 2"/>
          <p:cNvSpPr>
            <a:spLocks noGrp="1"/>
          </p:cNvSpPr>
          <p:nvPr>
            <p:ph type="title"/>
          </p:nvPr>
        </p:nvSpPr>
        <p:spPr/>
        <p:txBody>
          <a:bodyPr/>
          <a:lstStyle/>
          <a:p>
            <a:r>
              <a:rPr lang="en-US" dirty="0" smtClean="0"/>
              <a:t>SQL service tiers </a:t>
            </a:r>
            <a:endParaRPr lang="en-US" dirty="0"/>
          </a:p>
        </p:txBody>
      </p:sp>
      <p:graphicFrame>
        <p:nvGraphicFramePr>
          <p:cNvPr id="5" name="Table 4"/>
          <p:cNvGraphicFramePr>
            <a:graphicFrameLocks noGrp="1"/>
          </p:cNvGraphicFramePr>
          <p:nvPr>
            <p:extLst/>
          </p:nvPr>
        </p:nvGraphicFramePr>
        <p:xfrm>
          <a:off x="442127" y="1256219"/>
          <a:ext cx="8940764" cy="4554905"/>
        </p:xfrm>
        <a:graphic>
          <a:graphicData uri="http://schemas.openxmlformats.org/drawingml/2006/table">
            <a:tbl>
              <a:tblPr firstRow="1" bandRow="1">
                <a:tableStyleId>{5C22544A-7EE6-4342-B048-85BDC9FD1C3A}</a:tableStyleId>
              </a:tblPr>
              <a:tblGrid>
                <a:gridCol w="2211550">
                  <a:extLst>
                    <a:ext uri="{9D8B030D-6E8A-4147-A177-3AD203B41FA5}">
                      <a16:colId xmlns="" xmlns:a16="http://schemas.microsoft.com/office/drawing/2014/main" val="20000"/>
                    </a:ext>
                  </a:extLst>
                </a:gridCol>
                <a:gridCol w="1914957">
                  <a:extLst>
                    <a:ext uri="{9D8B030D-6E8A-4147-A177-3AD203B41FA5}">
                      <a16:colId xmlns="" xmlns:a16="http://schemas.microsoft.com/office/drawing/2014/main" val="20001"/>
                    </a:ext>
                  </a:extLst>
                </a:gridCol>
                <a:gridCol w="515813">
                  <a:extLst>
                    <a:ext uri="{9D8B030D-6E8A-4147-A177-3AD203B41FA5}">
                      <a16:colId xmlns="" xmlns:a16="http://schemas.microsoft.com/office/drawing/2014/main" val="20002"/>
                    </a:ext>
                  </a:extLst>
                </a:gridCol>
                <a:gridCol w="515813">
                  <a:extLst>
                    <a:ext uri="{9D8B030D-6E8A-4147-A177-3AD203B41FA5}">
                      <a16:colId xmlns="" xmlns:a16="http://schemas.microsoft.com/office/drawing/2014/main" val="20003"/>
                    </a:ext>
                  </a:extLst>
                </a:gridCol>
                <a:gridCol w="515813">
                  <a:extLst>
                    <a:ext uri="{9D8B030D-6E8A-4147-A177-3AD203B41FA5}">
                      <a16:colId xmlns="" xmlns:a16="http://schemas.microsoft.com/office/drawing/2014/main" val="20004"/>
                    </a:ext>
                  </a:extLst>
                </a:gridCol>
                <a:gridCol w="515813">
                  <a:extLst>
                    <a:ext uri="{9D8B030D-6E8A-4147-A177-3AD203B41FA5}">
                      <a16:colId xmlns="" xmlns:a16="http://schemas.microsoft.com/office/drawing/2014/main" val="20005"/>
                    </a:ext>
                  </a:extLst>
                </a:gridCol>
                <a:gridCol w="687751">
                  <a:extLst>
                    <a:ext uri="{9D8B030D-6E8A-4147-A177-3AD203B41FA5}">
                      <a16:colId xmlns="" xmlns:a16="http://schemas.microsoft.com/office/drawing/2014/main" val="20006"/>
                    </a:ext>
                  </a:extLst>
                </a:gridCol>
                <a:gridCol w="687752">
                  <a:extLst>
                    <a:ext uri="{9D8B030D-6E8A-4147-A177-3AD203B41FA5}">
                      <a16:colId xmlns="" xmlns:a16="http://schemas.microsoft.com/office/drawing/2014/main" val="20007"/>
                    </a:ext>
                  </a:extLst>
                </a:gridCol>
                <a:gridCol w="687751">
                  <a:extLst>
                    <a:ext uri="{9D8B030D-6E8A-4147-A177-3AD203B41FA5}">
                      <a16:colId xmlns="" xmlns:a16="http://schemas.microsoft.com/office/drawing/2014/main" val="20008"/>
                    </a:ext>
                  </a:extLst>
                </a:gridCol>
                <a:gridCol w="687751"/>
              </a:tblGrid>
              <a:tr h="370787">
                <a:tc rowSpan="2">
                  <a:txBody>
                    <a:bodyPr/>
                    <a:lstStyle/>
                    <a:p>
                      <a:r>
                        <a:rPr lang="en-US" sz="1800" b="0" dirty="0" smtClean="0">
                          <a:latin typeface="+mj-lt"/>
                        </a:rPr>
                        <a:t>Feature</a:t>
                      </a:r>
                      <a:endParaRPr lang="en-US" sz="1800" b="0" dirty="0">
                        <a:latin typeface="+mj-lt"/>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rowSpan="2">
                  <a:txBody>
                    <a:bodyPr/>
                    <a:lstStyle/>
                    <a:p>
                      <a:r>
                        <a:rPr lang="en-US" sz="1800" b="0" dirty="0" smtClean="0">
                          <a:latin typeface="+mj-lt"/>
                        </a:rPr>
                        <a:t>Basic</a:t>
                      </a:r>
                      <a:endParaRPr lang="en-US" sz="1800" b="0" dirty="0">
                        <a:latin typeface="+mj-lt"/>
                      </a:endParaRPr>
                    </a:p>
                  </a:txBody>
                  <a:tcPr marL="91427" marR="91427" marT="45713" marB="45713">
                    <a:lnL w="6350" cap="flat" cmpd="sng" algn="ctr">
                      <a:solidFill>
                        <a:schemeClr val="bg1"/>
                      </a:solidFill>
                      <a:prstDash val="solid"/>
                      <a:round/>
                      <a:headEnd type="none" w="med" len="med"/>
                      <a:tailEnd type="none" w="med" len="med"/>
                    </a:lnL>
                    <a:lnB w="3175" cap="flat" cmpd="sng" algn="ctr">
                      <a:solidFill>
                        <a:schemeClr val="tx1"/>
                      </a:solidFill>
                      <a:prstDash val="sysDot"/>
                      <a:round/>
                      <a:headEnd type="none" w="med" len="med"/>
                      <a:tailEnd type="none" w="med" len="med"/>
                    </a:lnB>
                  </a:tcPr>
                </a:tc>
                <a:tc gridSpan="4">
                  <a:txBody>
                    <a:bodyPr/>
                    <a:lstStyle/>
                    <a:p>
                      <a:r>
                        <a:rPr lang="en-US" sz="1800" b="0" dirty="0" smtClean="0">
                          <a:latin typeface="+mj-lt"/>
                        </a:rPr>
                        <a:t>Standard</a:t>
                      </a:r>
                      <a:endParaRPr lang="en-US" sz="1800" b="0" dirty="0">
                        <a:latin typeface="+mj-lt"/>
                      </a:endParaRPr>
                    </a:p>
                  </a:txBody>
                  <a:tcPr marL="91427" marR="91427" marT="45713" marB="45713">
                    <a:lnB w="3175" cap="flat" cmpd="sng" algn="ctr">
                      <a:solidFill>
                        <a:schemeClr val="tx1"/>
                      </a:solidFill>
                      <a:prstDash val="sys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r>
                        <a:rPr lang="en-US" sz="1800" b="0" dirty="0" smtClean="0">
                          <a:latin typeface="+mj-lt"/>
                        </a:rPr>
                        <a:t>Premium</a:t>
                      </a:r>
                      <a:endParaRPr lang="en-US" sz="1800" b="0" dirty="0">
                        <a:latin typeface="+mj-lt"/>
                      </a:endParaRPr>
                    </a:p>
                  </a:txBody>
                  <a:tcPr marL="91427" marR="91427" marT="45713" marB="45713">
                    <a:lnB w="3175" cap="flat" cmpd="sng" algn="ctr">
                      <a:solidFill>
                        <a:schemeClr val="tx1"/>
                      </a:solidFill>
                      <a:prstDash val="sysDot"/>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endParaRPr lang="en-US" sz="1800" b="0" dirty="0">
                        <a:latin typeface="+mj-lt"/>
                      </a:endParaRPr>
                    </a:p>
                  </a:txBody>
                  <a:tcPr marL="91427" marR="91427" marT="45713" marB="45713">
                    <a:lnB w="3175"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0000"/>
                  </a:ext>
                </a:extLst>
              </a:tr>
              <a:tr h="347719">
                <a:tc vMerge="1">
                  <a:txBody>
                    <a:bodyPr/>
                    <a:lstStyle/>
                    <a:p>
                      <a:endParaRPr lang="en-US" dirty="0"/>
                    </a:p>
                  </a:txBody>
                  <a:tcPr>
                    <a:solidFill>
                      <a:schemeClr val="accent1"/>
                    </a:solidFill>
                  </a:tcPr>
                </a:tc>
                <a:tc vMerge="1">
                  <a:txBody>
                    <a:bodyPr/>
                    <a:lstStyle/>
                    <a:p>
                      <a:endParaRPr lang="en-US" dirty="0"/>
                    </a:p>
                  </a:txBody>
                  <a:tcPr>
                    <a:solidFill>
                      <a:schemeClr val="accent1"/>
                    </a:solidFill>
                  </a:tcPr>
                </a:tc>
                <a:tc>
                  <a:txBody>
                    <a:bodyPr/>
                    <a:lstStyle/>
                    <a:p>
                      <a:r>
                        <a:rPr lang="en-US" sz="1100" dirty="0" smtClean="0"/>
                        <a:t>S0</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S1</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S2</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S3</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P1</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P2</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P4</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tc>
                  <a:txBody>
                    <a:bodyPr/>
                    <a:lstStyle/>
                    <a:p>
                      <a:r>
                        <a:rPr lang="en-US" sz="1100" dirty="0" smtClean="0"/>
                        <a:t>P6</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solidFill>
                      <a:schemeClr val="tx1">
                        <a:lumMod val="20000"/>
                        <a:lumOff val="80000"/>
                      </a:schemeClr>
                    </a:solidFill>
                  </a:tcPr>
                </a:tc>
                <a:extLst>
                  <a:ext uri="{0D108BD9-81ED-4DB2-BD59-A6C34878D82A}">
                    <a16:rowId xmlns="" xmlns:a16="http://schemas.microsoft.com/office/drawing/2014/main" val="10001"/>
                  </a:ext>
                </a:extLst>
              </a:tr>
              <a:tr h="370787">
                <a:tc>
                  <a:txBody>
                    <a:bodyPr/>
                    <a:lstStyle/>
                    <a:p>
                      <a:r>
                        <a:rPr lang="en-US" sz="1200" dirty="0" smtClean="0">
                          <a:solidFill>
                            <a:schemeClr val="bg1"/>
                          </a:solidFill>
                        </a:rPr>
                        <a:t>Uptime SLA</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99.99%</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dirty="0" smtClean="0"/>
                        <a:t>99.99%</a:t>
                      </a: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dirty="0" smtClean="0"/>
                        <a:t>99.99%</a:t>
                      </a: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dirty="0" smtClean="0"/>
                    </a:p>
                  </a:txBody>
                  <a:tcPr marL="93260" marR="93260" marT="46630" marB="46630"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70787">
                <a:tc>
                  <a:txBody>
                    <a:bodyPr/>
                    <a:lstStyle/>
                    <a:p>
                      <a:r>
                        <a:rPr lang="en-US" sz="1200" dirty="0" smtClean="0">
                          <a:solidFill>
                            <a:schemeClr val="bg1"/>
                          </a:solidFill>
                        </a:rPr>
                        <a:t>Maximum</a:t>
                      </a:r>
                      <a:r>
                        <a:rPr lang="en-US" sz="1200" baseline="0" dirty="0" smtClean="0">
                          <a:solidFill>
                            <a:schemeClr val="bg1"/>
                          </a:solidFill>
                        </a:rPr>
                        <a:t> Database Size</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2 GB</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100" dirty="0" smtClean="0"/>
                        <a:t>250 GB</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100" dirty="0" smtClean="0"/>
                        <a:t>500 GB</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algn="ctr"/>
                      <a:endParaRPr lang="en-US" sz="1100" dirty="0"/>
                    </a:p>
                  </a:txBody>
                  <a:tcPr marL="93260" marR="93260" marT="46630" marB="46630"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457135">
                <a:tc>
                  <a:txBody>
                    <a:bodyPr/>
                    <a:lstStyle/>
                    <a:p>
                      <a:r>
                        <a:rPr lang="en-US" sz="1200" dirty="0" smtClean="0">
                          <a:solidFill>
                            <a:schemeClr val="bg1"/>
                          </a:solidFill>
                        </a:rPr>
                        <a:t>Database Throughput Units (DTU)</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5</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5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5</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5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5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370787">
                <a:tc>
                  <a:txBody>
                    <a:bodyPr/>
                    <a:lstStyle/>
                    <a:p>
                      <a:r>
                        <a:rPr lang="en-US" sz="1200" dirty="0" smtClean="0">
                          <a:solidFill>
                            <a:schemeClr val="bg1"/>
                          </a:solidFill>
                        </a:rPr>
                        <a:t>Point in Time Restore</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smtClean="0"/>
                        <a:t>Any point in last 7 days</a:t>
                      </a:r>
                      <a:endParaRPr lang="en-US" sz="1100" dirty="0"/>
                    </a:p>
                  </a:txBody>
                  <a:tcPr marL="91427" marR="91427" marT="45713" marB="45713">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r>
                        <a:rPr lang="en-US" sz="1100" dirty="0" smtClean="0"/>
                        <a:t>Any point in last 14 days</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r>
                        <a:rPr lang="en-US" sz="1100" dirty="0" smtClean="0"/>
                        <a:t>Any point</a:t>
                      </a:r>
                      <a:r>
                        <a:rPr lang="en-US" sz="1100" baseline="0" dirty="0" smtClean="0"/>
                        <a:t> in last 35 days</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sz="1100" dirty="0"/>
                    </a:p>
                  </a:txBody>
                  <a:tcPr marL="93260" marR="93260" marT="46630" marB="46630">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636359">
                <a:tc>
                  <a:txBody>
                    <a:bodyPr/>
                    <a:lstStyle/>
                    <a:p>
                      <a:r>
                        <a:rPr lang="en-US" sz="1200" dirty="0" smtClean="0">
                          <a:solidFill>
                            <a:schemeClr val="bg1"/>
                          </a:solidFill>
                        </a:rPr>
                        <a:t>Disaster Recovery</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smtClean="0"/>
                        <a:t>Geo-Restore, restore</a:t>
                      </a:r>
                      <a:r>
                        <a:rPr lang="en-US" sz="1100" baseline="0" dirty="0" smtClean="0"/>
                        <a:t> to any Azure region</a:t>
                      </a:r>
                      <a:endParaRPr lang="en-US" sz="1100" dirty="0"/>
                    </a:p>
                  </a:txBody>
                  <a:tcPr marL="91427" marR="91427" marT="45713" marB="45713">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r>
                        <a:rPr lang="en-US" sz="1100" dirty="0" smtClean="0"/>
                        <a:t>Standard Geo-Replication, offline secondary</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r>
                        <a:rPr lang="en-US" sz="1100" dirty="0" smtClean="0"/>
                        <a:t>Active Geo-Replication, up to 4 online (readable) secondary</a:t>
                      </a:r>
                      <a:r>
                        <a:rPr lang="en-US" sz="1100" baseline="0" dirty="0" smtClean="0"/>
                        <a:t> backups</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sz="1100" dirty="0"/>
                    </a:p>
                  </a:txBody>
                  <a:tcPr marL="93260" marR="93260" marT="46630" marB="46630">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259044">
                <a:tc rowSpan="2">
                  <a:txBody>
                    <a:bodyPr/>
                    <a:lstStyle/>
                    <a:p>
                      <a:r>
                        <a:rPr lang="en-US" sz="1200" dirty="0" smtClean="0">
                          <a:solidFill>
                            <a:schemeClr val="bg1"/>
                          </a:solidFill>
                        </a:rPr>
                        <a:t>Performance Objectives (Benchmark</a:t>
                      </a:r>
                      <a:r>
                        <a:rPr lang="en-US" sz="1200" baseline="0" dirty="0" smtClean="0">
                          <a:solidFill>
                            <a:schemeClr val="bg1"/>
                          </a:solidFill>
                        </a:rPr>
                        <a:t> Transaction Rate)</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smtClean="0"/>
                        <a:t>Transaction rate per hour</a:t>
                      </a:r>
                      <a:endParaRPr lang="en-US" sz="1100" dirty="0"/>
                    </a:p>
                  </a:txBody>
                  <a:tcPr marL="91427" marR="91427" marT="45713" marB="45713">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r>
                        <a:rPr lang="en-US" sz="1100" dirty="0" smtClean="0"/>
                        <a:t>Transaction rate per minute</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r>
                        <a:rPr lang="en-US" sz="1100" dirty="0" smtClean="0"/>
                        <a:t>Transaction rate per second</a:t>
                      </a:r>
                      <a:endParaRPr lang="en-US" sz="1100" dirty="0"/>
                    </a:p>
                  </a:txBody>
                  <a:tcPr marL="91427" marR="91427" marT="45713" marB="45713">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sz="1100" dirty="0"/>
                    </a:p>
                  </a:txBody>
                  <a:tcPr marL="93260" marR="93260" marT="46630" marB="46630">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259044">
                <a:tc vMerge="1">
                  <a:txBody>
                    <a:bodyPr/>
                    <a:lstStyle/>
                    <a:p>
                      <a:endParaRPr lang="en-US"/>
                    </a:p>
                  </a:txBody>
                  <a:tcPr/>
                </a:tc>
                <a:tc>
                  <a:txBody>
                    <a:bodyPr/>
                    <a:lstStyle/>
                    <a:p>
                      <a:pPr algn="ctr"/>
                      <a:r>
                        <a:rPr lang="en-US" sz="1100" dirty="0" smtClean="0"/>
                        <a:t>16,600</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521</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34</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57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51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28</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447</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735</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370787">
                <a:tc>
                  <a:txBody>
                    <a:bodyPr/>
                    <a:lstStyle/>
                    <a:p>
                      <a:r>
                        <a:rPr lang="en-US" sz="1200" dirty="0" smtClean="0">
                          <a:solidFill>
                            <a:schemeClr val="bg1"/>
                          </a:solidFill>
                        </a:rPr>
                        <a:t>Max Worker Threads</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30</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6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4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8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6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370787">
                <a:tc>
                  <a:txBody>
                    <a:bodyPr/>
                    <a:lstStyle/>
                    <a:p>
                      <a:r>
                        <a:rPr lang="en-US" sz="1200" dirty="0" smtClean="0">
                          <a:solidFill>
                            <a:schemeClr val="bg1"/>
                          </a:solidFill>
                        </a:rPr>
                        <a:t>Max Sessions</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300</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6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4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24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48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600</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100" dirty="0" smtClean="0"/>
                        <a:t>19200</a:t>
                      </a: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10"/>
                  </a:ext>
                </a:extLst>
              </a:tr>
              <a:tr h="370787">
                <a:tc>
                  <a:txBody>
                    <a:bodyPr/>
                    <a:lstStyle/>
                    <a:p>
                      <a:r>
                        <a:rPr lang="en-US" sz="1200" dirty="0" smtClean="0">
                          <a:solidFill>
                            <a:schemeClr val="bg1"/>
                          </a:solidFill>
                        </a:rPr>
                        <a:t>Comparative</a:t>
                      </a:r>
                      <a:r>
                        <a:rPr lang="en-US" sz="1200" baseline="0" dirty="0" smtClean="0">
                          <a:solidFill>
                            <a:schemeClr val="bg1"/>
                          </a:solidFill>
                        </a:rPr>
                        <a:t> TPM</a:t>
                      </a:r>
                      <a:endParaRPr lang="en-US" sz="1200" dirty="0">
                        <a:solidFill>
                          <a:schemeClr val="bg1"/>
                        </a:solidFill>
                      </a:endParaRP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dirty="0" smtClean="0"/>
                        <a:t>276</a:t>
                      </a:r>
                      <a:endParaRPr lang="en-US" sz="1100" dirty="0"/>
                    </a:p>
                  </a:txBody>
                  <a:tcPr marL="91427" marR="91427" marT="45713" marB="45713" anchor="ctr">
                    <a:lnL w="6350" cap="flat" cmpd="sng" algn="ctr">
                      <a:solidFill>
                        <a:schemeClr val="bg1"/>
                      </a:solid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521</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34</a:t>
                      </a:r>
                      <a:endParaRPr lang="en-US" sz="1100" dirty="0"/>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257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510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630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1368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2682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kern="1200" dirty="0" smtClean="0">
                          <a:solidFill>
                            <a:schemeClr val="dk1"/>
                          </a:solidFill>
                          <a:latin typeface="+mn-lt"/>
                          <a:ea typeface="+mn-ea"/>
                          <a:cs typeface="+mn-cs"/>
                        </a:rPr>
                        <a:t>44100</a:t>
                      </a:r>
                      <a:endParaRPr lang="en-US" sz="1100" kern="1200" dirty="0">
                        <a:solidFill>
                          <a:schemeClr val="dk1"/>
                        </a:solidFill>
                        <a:latin typeface="+mn-lt"/>
                        <a:ea typeface="+mn-ea"/>
                        <a:cs typeface="+mn-cs"/>
                      </a:endParaRPr>
                    </a:p>
                  </a:txBody>
                  <a:tcPr marL="91427" marR="91427" marT="45713" marB="45713"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85071942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zure AND why do I want to use it for SharePoint Development?</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56094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sp>
        <p:nvSpPr>
          <p:cNvPr id="15" name="Rounded Rectangle 14"/>
          <p:cNvSpPr/>
          <p:nvPr/>
        </p:nvSpPr>
        <p:spPr bwMode="auto">
          <a:xfrm>
            <a:off x="585486" y="2474911"/>
            <a:ext cx="2614572" cy="2465168"/>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US" dirty="0" smtClean="0">
                <a:solidFill>
                  <a:schemeClr val="bg1"/>
                </a:solidFill>
              </a:rPr>
              <a:t>Azure DocumentDB</a:t>
            </a:r>
            <a:endParaRPr lang="en-US" dirty="0">
              <a:solidFill>
                <a:schemeClr val="bg1"/>
              </a:solidFill>
            </a:endParaRPr>
          </a:p>
        </p:txBody>
      </p:sp>
      <p:sp>
        <p:nvSpPr>
          <p:cNvPr id="8" name="TextBox 7"/>
          <p:cNvSpPr txBox="1"/>
          <p:nvPr/>
        </p:nvSpPr>
        <p:spPr>
          <a:xfrm>
            <a:off x="3944603" y="1606939"/>
            <a:ext cx="7980478" cy="1819410"/>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Wingdings" panose="05000000000000000000" pitchFamily="2" charset="2"/>
              <a:buChar char="§"/>
            </a:pPr>
            <a:r>
              <a:rPr lang="en-US" sz="2353" dirty="0">
                <a:gradFill>
                  <a:gsLst>
                    <a:gs pos="2917">
                      <a:srgbClr val="FFFFFF"/>
                    </a:gs>
                    <a:gs pos="30000">
                      <a:srgbClr val="FFFFFF"/>
                    </a:gs>
                  </a:gsLst>
                  <a:lin ang="5400000" scaled="0"/>
                </a:gradFill>
                <a:latin typeface="Segoe UI Light"/>
              </a:rPr>
              <a:t>Flexible schema for iterative application development</a:t>
            </a:r>
          </a:p>
          <a:p>
            <a:pPr marL="336145" indent="-336145" defTabSz="914367">
              <a:lnSpc>
                <a:spcPct val="90000"/>
              </a:lnSpc>
              <a:spcAft>
                <a:spcPts val="588"/>
              </a:spcAft>
              <a:buFont typeface="Wingdings" panose="05000000000000000000" pitchFamily="2" charset="2"/>
              <a:buChar char="§"/>
            </a:pPr>
            <a:r>
              <a:rPr lang="en-US" sz="2353" dirty="0">
                <a:gradFill>
                  <a:gsLst>
                    <a:gs pos="2917">
                      <a:srgbClr val="FFFFFF"/>
                    </a:gs>
                    <a:gs pos="30000">
                      <a:srgbClr val="FFFFFF"/>
                    </a:gs>
                  </a:gsLst>
                  <a:lin ang="5400000" scaled="0"/>
                </a:gradFill>
                <a:latin typeface="Segoe UI Light"/>
              </a:rPr>
              <a:t>Automatic indexing with a SQL interface</a:t>
            </a:r>
          </a:p>
          <a:p>
            <a:pPr marL="336145" indent="-336145" defTabSz="914367">
              <a:lnSpc>
                <a:spcPct val="90000"/>
              </a:lnSpc>
              <a:spcAft>
                <a:spcPts val="588"/>
              </a:spcAft>
              <a:buFont typeface="Wingdings" panose="05000000000000000000" pitchFamily="2" charset="2"/>
              <a:buChar char="§"/>
            </a:pPr>
            <a:r>
              <a:rPr lang="en-US" sz="2353" dirty="0">
                <a:gradFill>
                  <a:gsLst>
                    <a:gs pos="2917">
                      <a:srgbClr val="FFFFFF"/>
                    </a:gs>
                    <a:gs pos="30000">
                      <a:srgbClr val="FFFFFF"/>
                    </a:gs>
                  </a:gsLst>
                  <a:lin ang="5400000" scaled="0"/>
                </a:gradFill>
                <a:latin typeface="Segoe UI Light"/>
              </a:rPr>
              <a:t>Transactional support for multi-document operations</a:t>
            </a:r>
          </a:p>
          <a:p>
            <a:pPr marL="336145" indent="-336145" defTabSz="914367">
              <a:lnSpc>
                <a:spcPct val="90000"/>
              </a:lnSpc>
              <a:spcAft>
                <a:spcPts val="588"/>
              </a:spcAft>
              <a:buFont typeface="Wingdings" panose="05000000000000000000" pitchFamily="2" charset="2"/>
              <a:buChar char="§"/>
            </a:pPr>
            <a:r>
              <a:rPr lang="en-US" sz="2353" dirty="0">
                <a:gradFill>
                  <a:gsLst>
                    <a:gs pos="2917">
                      <a:srgbClr val="FFFFFF"/>
                    </a:gs>
                    <a:gs pos="30000">
                      <a:srgbClr val="FFFFFF"/>
                    </a:gs>
                  </a:gsLst>
                  <a:lin ang="5400000" scaled="0"/>
                </a:gradFill>
                <a:latin typeface="Segoe UI Light"/>
              </a:rPr>
              <a:t>Scalable database storage with predictable performance</a:t>
            </a:r>
          </a:p>
        </p:txBody>
      </p:sp>
      <p:sp>
        <p:nvSpPr>
          <p:cNvPr id="9" name="TextBox 8"/>
          <p:cNvSpPr txBox="1"/>
          <p:nvPr/>
        </p:nvSpPr>
        <p:spPr>
          <a:xfrm>
            <a:off x="269241" y="881734"/>
            <a:ext cx="7407068" cy="561211"/>
          </a:xfrm>
          <a:prstGeom prst="rect">
            <a:avLst/>
          </a:prstGeom>
          <a:noFill/>
        </p:spPr>
        <p:txBody>
          <a:bodyPr wrap="none" lIns="179285" tIns="143428" rIns="179285" bIns="143428" rtlCol="0">
            <a:spAutoFit/>
          </a:bodyPr>
          <a:lstStyle/>
          <a:p>
            <a:pPr defTabSz="914367">
              <a:lnSpc>
                <a:spcPct val="90000"/>
              </a:lnSpc>
              <a:spcAft>
                <a:spcPts val="588"/>
              </a:spcAft>
            </a:pPr>
            <a:r>
              <a:rPr lang="en-US" sz="1961" i="1" dirty="0">
                <a:gradFill>
                  <a:gsLst>
                    <a:gs pos="2917">
                      <a:srgbClr val="FFFFFF"/>
                    </a:gs>
                    <a:gs pos="30000">
                      <a:srgbClr val="FFFFFF"/>
                    </a:gs>
                  </a:gsLst>
                  <a:lin ang="5400000" scaled="0"/>
                </a:gradFill>
                <a:latin typeface="Segoe UI Light"/>
              </a:rPr>
              <a:t>fully managed NoSQL document database service built for the cloud</a:t>
            </a:r>
            <a:r>
              <a:rPr lang="en-US" sz="1961" dirty="0">
                <a:gradFill>
                  <a:gsLst>
                    <a:gs pos="2917">
                      <a:srgbClr val="FFFFFF"/>
                    </a:gs>
                    <a:gs pos="30000">
                      <a:srgbClr val="FFFFFF"/>
                    </a:gs>
                  </a:gsLst>
                  <a:lin ang="5400000" scaled="0"/>
                </a:gradFill>
              </a:rPr>
              <a:t>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9589" y="3084312"/>
            <a:ext cx="1246366" cy="1246366"/>
          </a:xfrm>
          <a:prstGeom prst="rect">
            <a:avLst/>
          </a:prstGeom>
        </p:spPr>
      </p:pic>
      <p:sp>
        <p:nvSpPr>
          <p:cNvPr id="7" name="TextBox 6"/>
          <p:cNvSpPr txBox="1"/>
          <p:nvPr/>
        </p:nvSpPr>
        <p:spPr>
          <a:xfrm>
            <a:off x="7806803" y="3844112"/>
            <a:ext cx="4278442" cy="3023298"/>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FFFFFF"/>
                    </a:gs>
                    <a:gs pos="30000">
                      <a:srgbClr val="FFFFFF"/>
                    </a:gs>
                  </a:gsLst>
                  <a:lin ang="5400000" scaled="0"/>
                </a:gradFill>
                <a:latin typeface="Segoe UI Light"/>
              </a:rPr>
              <a:t>Documents</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Application defined JSON</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No enforced schema</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All properties indexed by default</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Optimized for many small documents </a:t>
            </a:r>
          </a:p>
          <a:p>
            <a:pPr marL="336145" indent="-336145" defTabSz="914367">
              <a:lnSpc>
                <a:spcPct val="90000"/>
              </a:lnSpc>
              <a:spcAft>
                <a:spcPts val="588"/>
              </a:spcAft>
              <a:buFont typeface="Wingdings" panose="05000000000000000000" pitchFamily="2" charset="2"/>
              <a:buChar char="§"/>
            </a:pPr>
            <a:endParaRPr lang="en-US" sz="1961" dirty="0">
              <a:gradFill>
                <a:gsLst>
                  <a:gs pos="2917">
                    <a:srgbClr val="FFFFFF"/>
                  </a:gs>
                  <a:gs pos="30000">
                    <a:srgbClr val="FFFFFF"/>
                  </a:gs>
                </a:gsLst>
                <a:lin ang="5400000" scaled="0"/>
              </a:gradFill>
              <a:latin typeface="Segoe UI Light"/>
            </a:endParaRPr>
          </a:p>
          <a:p>
            <a:pPr marL="336145" indent="-336145" defTabSz="914367">
              <a:lnSpc>
                <a:spcPct val="90000"/>
              </a:lnSpc>
              <a:spcAft>
                <a:spcPts val="588"/>
              </a:spcAft>
              <a:buFont typeface="Wingdings" panose="05000000000000000000" pitchFamily="2" charset="2"/>
              <a:buChar char="§"/>
            </a:pPr>
            <a:endParaRPr lang="en-US" sz="2353" dirty="0">
              <a:gradFill>
                <a:gsLst>
                  <a:gs pos="2917">
                    <a:srgbClr val="FFFFFF"/>
                  </a:gs>
                  <a:gs pos="30000">
                    <a:srgbClr val="FFFFFF"/>
                  </a:gs>
                </a:gsLst>
                <a:lin ang="5400000" scaled="0"/>
              </a:gradFill>
              <a:latin typeface="Segoe UI Light"/>
            </a:endParaRPr>
          </a:p>
        </p:txBody>
      </p:sp>
      <p:sp>
        <p:nvSpPr>
          <p:cNvPr id="10" name="TextBox 9"/>
          <p:cNvSpPr txBox="1"/>
          <p:nvPr/>
        </p:nvSpPr>
        <p:spPr>
          <a:xfrm>
            <a:off x="3844303" y="3938348"/>
            <a:ext cx="4505713" cy="200346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FFFFFF"/>
                    </a:gs>
                    <a:gs pos="30000">
                      <a:srgbClr val="FFFFFF"/>
                    </a:gs>
                  </a:gsLst>
                  <a:lin ang="5400000" scaled="0"/>
                </a:gradFill>
                <a:latin typeface="Segoe UI Light"/>
              </a:rPr>
              <a:t>Characteristics</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Partitioned for scale out</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Replicated for HA</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RESTful interaction over HTTP</a:t>
            </a:r>
          </a:p>
          <a:p>
            <a:pPr marL="336145" indent="-336145" defTabSz="914367">
              <a:lnSpc>
                <a:spcPct val="90000"/>
              </a:lnSpc>
              <a:spcAft>
                <a:spcPts val="588"/>
              </a:spcAft>
              <a:buFont typeface="Wingdings" panose="05000000000000000000" pitchFamily="2" charset="2"/>
              <a:buChar char="§"/>
            </a:pPr>
            <a:r>
              <a:rPr lang="en-US" sz="1961" dirty="0">
                <a:gradFill>
                  <a:gsLst>
                    <a:gs pos="2917">
                      <a:srgbClr val="FFFFFF"/>
                    </a:gs>
                    <a:gs pos="30000">
                      <a:srgbClr val="FFFFFF"/>
                    </a:gs>
                  </a:gsLst>
                  <a:lin ang="5400000" scaled="0"/>
                </a:gradFill>
                <a:latin typeface="Segoe UI Light"/>
              </a:rPr>
              <a:t>HTTP and TCP connectivity</a:t>
            </a:r>
          </a:p>
        </p:txBody>
      </p:sp>
    </p:spTree>
    <p:extLst>
      <p:ext uri="{BB962C8B-B14F-4D97-AF65-F5344CB8AC3E}">
        <p14:creationId xmlns:p14="http://schemas.microsoft.com/office/powerpoint/2010/main" val="349351739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ations</a:t>
            </a:r>
            <a:endParaRPr lang="en-US" dirty="0"/>
          </a:p>
        </p:txBody>
      </p:sp>
      <p:sp>
        <p:nvSpPr>
          <p:cNvPr id="3" name="TextBox 2"/>
          <p:cNvSpPr txBox="1"/>
          <p:nvPr/>
        </p:nvSpPr>
        <p:spPr>
          <a:xfrm>
            <a:off x="493345" y="1337342"/>
            <a:ext cx="11130608" cy="4402187"/>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Azure SQL DB has the most robust Business Continuity / Disaster Recovery options.</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Azure Storage and </a:t>
            </a:r>
            <a:r>
              <a:rPr lang="en-US" sz="2353" dirty="0" err="1">
                <a:gradFill>
                  <a:gsLst>
                    <a:gs pos="2917">
                      <a:srgbClr val="505050"/>
                    </a:gs>
                    <a:gs pos="30000">
                      <a:srgbClr val="505050"/>
                    </a:gs>
                  </a:gsLst>
                  <a:lin ang="5400000" scaled="0"/>
                </a:gradFill>
              </a:rPr>
              <a:t>DocumentDB</a:t>
            </a:r>
            <a:r>
              <a:rPr lang="en-US" sz="2353" dirty="0">
                <a:gradFill>
                  <a:gsLst>
                    <a:gs pos="2917">
                      <a:srgbClr val="505050"/>
                    </a:gs>
                    <a:gs pos="30000">
                      <a:srgbClr val="505050"/>
                    </a:gs>
                  </a:gsLst>
                  <a:lin ang="5400000" scaled="0"/>
                </a:gradFill>
              </a:rPr>
              <a:t> .NET clients already handle transient failures; you must implement something for Azure SQL DB.</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Consider Azure Table Storage and </a:t>
            </a:r>
            <a:r>
              <a:rPr lang="en-US" sz="2353" dirty="0" err="1">
                <a:gradFill>
                  <a:gsLst>
                    <a:gs pos="2917">
                      <a:srgbClr val="505050"/>
                    </a:gs>
                    <a:gs pos="30000">
                      <a:srgbClr val="505050"/>
                    </a:gs>
                  </a:gsLst>
                  <a:lin ang="5400000" scaled="0"/>
                </a:gradFill>
              </a:rPr>
              <a:t>DocumentDB</a:t>
            </a:r>
            <a:r>
              <a:rPr lang="en-US" sz="2353" dirty="0">
                <a:gradFill>
                  <a:gsLst>
                    <a:gs pos="2917">
                      <a:srgbClr val="505050"/>
                    </a:gs>
                    <a:gs pos="30000">
                      <a:srgbClr val="505050"/>
                    </a:gs>
                  </a:gsLst>
                  <a:lin ang="5400000" scaled="0"/>
                </a:gradFill>
              </a:rPr>
              <a:t> for object serialization.</a:t>
            </a:r>
          </a:p>
          <a:p>
            <a:pPr marL="336145" indent="-336145" defTabSz="914367">
              <a:lnSpc>
                <a:spcPct val="90000"/>
              </a:lnSpc>
              <a:spcAft>
                <a:spcPts val="588"/>
              </a:spcAft>
              <a:buFont typeface="Arial" panose="020B0604020202020204" pitchFamily="34" charset="0"/>
              <a:buChar char="•"/>
            </a:pPr>
            <a:r>
              <a:rPr lang="en-US" sz="2353" dirty="0" err="1">
                <a:gradFill>
                  <a:gsLst>
                    <a:gs pos="2917">
                      <a:srgbClr val="505050"/>
                    </a:gs>
                    <a:gs pos="30000">
                      <a:srgbClr val="505050"/>
                    </a:gs>
                  </a:gsLst>
                  <a:lin ang="5400000" scaled="0"/>
                </a:gradFill>
              </a:rPr>
              <a:t>DocumentDB</a:t>
            </a:r>
            <a:r>
              <a:rPr lang="en-US" sz="2353" dirty="0">
                <a:gradFill>
                  <a:gsLst>
                    <a:gs pos="2917">
                      <a:srgbClr val="505050"/>
                    </a:gs>
                    <a:gs pos="30000">
                      <a:srgbClr val="505050"/>
                    </a:gs>
                  </a:gsLst>
                  <a:lin ang="5400000" scaled="0"/>
                </a:gradFill>
              </a:rPr>
              <a:t> can reduce code due to projection.</a:t>
            </a:r>
          </a:p>
          <a:p>
            <a:pPr marL="336145" indent="-336145" defTabSz="914367">
              <a:lnSpc>
                <a:spcPct val="90000"/>
              </a:lnSpc>
              <a:spcAft>
                <a:spcPts val="588"/>
              </a:spcAft>
              <a:buFont typeface="Arial" panose="020B0604020202020204" pitchFamily="34" charset="0"/>
              <a:buChar char="•"/>
            </a:pPr>
            <a:r>
              <a:rPr lang="en-US" sz="2353" dirty="0" err="1">
                <a:gradFill>
                  <a:gsLst>
                    <a:gs pos="2917">
                      <a:srgbClr val="505050"/>
                    </a:gs>
                    <a:gs pos="30000">
                      <a:srgbClr val="505050"/>
                    </a:gs>
                  </a:gsLst>
                  <a:lin ang="5400000" scaled="0"/>
                </a:gradFill>
              </a:rPr>
              <a:t>DocumentDB</a:t>
            </a:r>
            <a:r>
              <a:rPr lang="en-US" sz="2353" dirty="0">
                <a:gradFill>
                  <a:gsLst>
                    <a:gs pos="2917">
                      <a:srgbClr val="505050"/>
                    </a:gs>
                    <a:gs pos="30000">
                      <a:srgbClr val="505050"/>
                    </a:gs>
                  </a:gsLst>
                  <a:lin ang="5400000" scaled="0"/>
                </a:gradFill>
              </a:rPr>
              <a:t> can increase code related to serialization for non-supported types (ex. timestamp).</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Azure Table Storage and </a:t>
            </a:r>
            <a:r>
              <a:rPr lang="en-US" sz="2353" dirty="0" err="1">
                <a:gradFill>
                  <a:gsLst>
                    <a:gs pos="2917">
                      <a:srgbClr val="505050"/>
                    </a:gs>
                    <a:gs pos="30000">
                      <a:srgbClr val="505050"/>
                    </a:gs>
                  </a:gsLst>
                  <a:lin ang="5400000" scaled="0"/>
                </a:gradFill>
              </a:rPr>
              <a:t>DocumentDB</a:t>
            </a:r>
            <a:r>
              <a:rPr lang="en-US" sz="2353" dirty="0">
                <a:gradFill>
                  <a:gsLst>
                    <a:gs pos="2917">
                      <a:srgbClr val="505050"/>
                    </a:gs>
                    <a:gs pos="30000">
                      <a:srgbClr val="505050"/>
                    </a:gs>
                  </a:gsLst>
                  <a:lin ang="5400000" scaled="0"/>
                </a:gradFill>
              </a:rPr>
              <a:t> are much faster than Azure SQL DB.</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High performance Azure SQL DB can be achieved via </a:t>
            </a:r>
            <a:r>
              <a:rPr lang="en-US" sz="2353" dirty="0" err="1">
                <a:gradFill>
                  <a:gsLst>
                    <a:gs pos="2917">
                      <a:srgbClr val="505050"/>
                    </a:gs>
                    <a:gs pos="30000">
                      <a:srgbClr val="505050"/>
                    </a:gs>
                  </a:gsLst>
                  <a:lin ang="5400000" scaled="0"/>
                </a:gradFill>
              </a:rPr>
              <a:t>sharding</a:t>
            </a:r>
            <a:r>
              <a:rPr lang="en-US" sz="2353" dirty="0">
                <a:gradFill>
                  <a:gsLst>
                    <a:gs pos="2917">
                      <a:srgbClr val="505050"/>
                    </a:gs>
                    <a:gs pos="30000">
                      <a:srgbClr val="505050"/>
                    </a:gs>
                  </a:gsLst>
                  <a:lin ang="5400000" scaled="0"/>
                </a:gradFill>
              </a:rPr>
              <a:t>.</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rPr>
              <a:t>Many reporting solutions will only be able to connect to Azure SQL DB.</a:t>
            </a:r>
          </a:p>
        </p:txBody>
      </p:sp>
    </p:spTree>
    <p:extLst>
      <p:ext uri="{BB962C8B-B14F-4D97-AF65-F5344CB8AC3E}">
        <p14:creationId xmlns:p14="http://schemas.microsoft.com/office/powerpoint/2010/main" val="201533808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App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9435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16910" y="496188"/>
            <a:ext cx="9569303" cy="6124754"/>
          </a:xfrm>
          <a:prstGeom prst="rect">
            <a:avLst/>
          </a:prstGeom>
          <a:noFill/>
        </p:spPr>
        <p:txBody>
          <a:bodyPr wrap="square" rtlCol="0">
            <a:spAutoFit/>
          </a:bodyPr>
          <a:lstStyle/>
          <a:p>
            <a:r>
              <a:rPr lang="en-US" sz="3200" dirty="0" smtClean="0"/>
              <a:t>SharePoint App Categories</a:t>
            </a:r>
          </a:p>
          <a:p>
            <a:endParaRPr lang="en-US" sz="2000" dirty="0"/>
          </a:p>
          <a:p>
            <a:pPr marL="285750" indent="-285750">
              <a:buFont typeface="Arial" panose="020B0604020202020204" pitchFamily="34" charset="0"/>
              <a:buChar char="•"/>
            </a:pPr>
            <a:r>
              <a:rPr lang="en-US" sz="2000" dirty="0" smtClean="0"/>
              <a:t>Custom look-and-feel</a:t>
            </a:r>
            <a:br>
              <a:rPr lang="en-US" sz="2000" dirty="0" smtClean="0"/>
            </a:br>
            <a:endParaRPr lang="en-US" sz="2000" dirty="0" smtClean="0"/>
          </a:p>
          <a:p>
            <a:pPr marL="285750" indent="-285750">
              <a:buFont typeface="Arial" panose="020B0604020202020204" pitchFamily="34" charset="0"/>
              <a:buChar char="•"/>
            </a:pPr>
            <a:r>
              <a:rPr lang="en-US" sz="2000" dirty="0" smtClean="0"/>
              <a:t>Interface with SharePoint-only data</a:t>
            </a:r>
            <a:br>
              <a:rPr lang="en-US" sz="2000" dirty="0" smtClean="0"/>
            </a:br>
            <a:endParaRPr lang="en-US" sz="2000" dirty="0" smtClean="0"/>
          </a:p>
          <a:p>
            <a:pPr marL="285750" indent="-285750">
              <a:buFont typeface="Arial" panose="020B0604020202020204" pitchFamily="34" charset="0"/>
              <a:buChar char="•"/>
            </a:pPr>
            <a:r>
              <a:rPr lang="en-US" sz="2000" dirty="0" smtClean="0"/>
              <a:t>Multi-tiered application</a:t>
            </a:r>
            <a:r>
              <a:rPr lang="en-US" sz="2000" dirty="0"/>
              <a:t/>
            </a:r>
            <a:br>
              <a:rPr lang="en-US" sz="2000" dirty="0"/>
            </a:br>
            <a:endParaRPr lang="en-US" sz="2000" dirty="0" smtClean="0"/>
          </a:p>
          <a:p>
            <a:pPr marL="285750" indent="-285750">
              <a:buFont typeface="Arial" panose="020B0604020202020204" pitchFamily="34" charset="0"/>
              <a:buChar char="•"/>
            </a:pPr>
            <a:r>
              <a:rPr lang="en-US" sz="2000" dirty="0" smtClean="0"/>
              <a:t>Scheduled </a:t>
            </a:r>
            <a:r>
              <a:rPr lang="en-US" sz="2000" dirty="0"/>
              <a:t>t</a:t>
            </a:r>
            <a:r>
              <a:rPr lang="en-US" sz="2000" dirty="0" smtClean="0"/>
              <a:t>asks</a:t>
            </a:r>
            <a:r>
              <a:rPr lang="en-US" sz="2000" dirty="0" smtClean="0"/>
              <a:t/>
            </a:r>
            <a:br>
              <a:rPr lang="en-US" sz="2000" dirty="0" smtClean="0"/>
            </a:br>
            <a:endParaRPr lang="en-US" sz="2000" dirty="0" smtClean="0"/>
          </a:p>
          <a:p>
            <a:pPr marL="285750" indent="-285750">
              <a:buFont typeface="Arial" panose="020B0604020202020204" pitchFamily="34" charset="0"/>
              <a:buChar char="•"/>
            </a:pPr>
            <a:r>
              <a:rPr lang="en-US" sz="2000" dirty="0"/>
              <a:t>Landing </a:t>
            </a:r>
            <a:r>
              <a:rPr lang="en-US" sz="2000" dirty="0" smtClean="0"/>
              <a:t>page</a:t>
            </a:r>
          </a:p>
          <a:p>
            <a:pPr marL="285750" indent="-285750">
              <a:buFont typeface="Arial" panose="020B0604020202020204" pitchFamily="34" charset="0"/>
              <a:buChar char="•"/>
            </a:pPr>
            <a:endParaRPr lang="en-US" sz="2000" dirty="0" smtClean="0"/>
          </a:p>
          <a:p>
            <a:pPr marL="285750" indent="-285750">
              <a:buFont typeface="Arial" panose="020B0604020202020204" pitchFamily="34" charset="0"/>
              <a:buChar char="•"/>
            </a:pPr>
            <a:r>
              <a:rPr lang="en-US" sz="2000" dirty="0" smtClean="0"/>
              <a:t>Custom event receiver</a:t>
            </a:r>
            <a:br>
              <a:rPr lang="en-US" sz="2000" dirty="0" smtClean="0"/>
            </a:br>
            <a:endParaRPr lang="en-US" sz="2000" dirty="0" smtClean="0"/>
          </a:p>
          <a:p>
            <a:pPr marL="285750" indent="-285750">
              <a:buFont typeface="Arial" panose="020B0604020202020204" pitchFamily="34" charset="0"/>
              <a:buChar char="•"/>
            </a:pPr>
            <a:r>
              <a:rPr lang="en-US" sz="2000" dirty="0" smtClean="0"/>
              <a:t>Interface by email (</a:t>
            </a:r>
            <a:r>
              <a:rPr lang="en-US" sz="2000" i="1" dirty="0" smtClean="0"/>
              <a:t>no demo</a:t>
            </a:r>
            <a:r>
              <a:rPr lang="en-US" sz="2000" dirty="0" smtClean="0"/>
              <a:t>)</a:t>
            </a:r>
            <a:br>
              <a:rPr lang="en-US" sz="2000" dirty="0" smtClean="0"/>
            </a:br>
            <a:endParaRPr lang="en-US" sz="2000" dirty="0" smtClean="0"/>
          </a:p>
          <a:p>
            <a:pPr marL="285750" indent="-285750">
              <a:buFont typeface="Arial" panose="020B0604020202020204" pitchFamily="34" charset="0"/>
              <a:buChar char="•"/>
            </a:pPr>
            <a:r>
              <a:rPr lang="en-US" sz="2000" dirty="0" smtClean="0"/>
              <a:t>Mobile (</a:t>
            </a:r>
            <a:r>
              <a:rPr lang="en-US" sz="2000" i="1" dirty="0" smtClean="0"/>
              <a:t>no demo</a:t>
            </a:r>
            <a:r>
              <a:rPr lang="en-US" sz="2000" dirty="0" smtClean="0"/>
              <a:t>)</a:t>
            </a:r>
          </a:p>
          <a:p>
            <a:pPr marL="285750" indent="-285750">
              <a:buFont typeface="Arial" panose="020B0604020202020204" pitchFamily="34" charset="0"/>
              <a:buChar char="•"/>
            </a:pPr>
            <a:endParaRPr lang="en-US" sz="2000" dirty="0" smtClean="0"/>
          </a:p>
          <a:p>
            <a:pPr marL="285750" indent="-285750">
              <a:buFont typeface="Arial" panose="020B0604020202020204" pitchFamily="34" charset="0"/>
              <a:buChar char="•"/>
            </a:pPr>
            <a:r>
              <a:rPr lang="en-US" sz="2000" dirty="0" smtClean="0"/>
              <a:t>Forms (</a:t>
            </a:r>
            <a:r>
              <a:rPr lang="en-US" sz="2000" i="1" dirty="0" smtClean="0"/>
              <a:t>no demo</a:t>
            </a:r>
            <a:r>
              <a:rPr lang="en-US" sz="2000" dirty="0" smtClean="0"/>
              <a:t>)</a:t>
            </a:r>
            <a:endParaRPr lang="en-US" sz="2000" dirty="0"/>
          </a:p>
        </p:txBody>
      </p:sp>
    </p:spTree>
    <p:extLst>
      <p:ext uri="{BB962C8B-B14F-4D97-AF65-F5344CB8AC3E}">
        <p14:creationId xmlns:p14="http://schemas.microsoft.com/office/powerpoint/2010/main" val="3865186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 LOOK-and-feel</a:t>
            </a:r>
            <a:endParaRPr lang="en-US" dirty="0"/>
          </a:p>
        </p:txBody>
      </p:sp>
      <p:sp>
        <p:nvSpPr>
          <p:cNvPr id="3" name="Content Placeholder 2"/>
          <p:cNvSpPr>
            <a:spLocks noGrp="1"/>
          </p:cNvSpPr>
          <p:nvPr>
            <p:ph idx="1"/>
          </p:nvPr>
        </p:nvSpPr>
        <p:spPr/>
        <p:txBody>
          <a:bodyPr/>
          <a:lstStyle/>
          <a:p>
            <a:r>
              <a:rPr lang="en-US" dirty="0" smtClean="0"/>
              <a:t>SharePoint-Hosted App</a:t>
            </a:r>
          </a:p>
          <a:p>
            <a:r>
              <a:rPr lang="en-US" dirty="0" err="1" smtClean="0"/>
              <a:t>UserCustomAction</a:t>
            </a:r>
            <a:r>
              <a:rPr lang="en-US" dirty="0" smtClean="0"/>
              <a:t> – applies to all Webs in a Site</a:t>
            </a:r>
          </a:p>
          <a:p>
            <a:r>
              <a:rPr lang="en-US" dirty="0" smtClean="0"/>
              <a:t>customui.js hosted in Azure - allows global changes</a:t>
            </a:r>
            <a:endParaRPr lang="en-US" dirty="0"/>
          </a:p>
        </p:txBody>
      </p:sp>
    </p:spTree>
    <p:extLst>
      <p:ext uri="{BB962C8B-B14F-4D97-AF65-F5344CB8AC3E}">
        <p14:creationId xmlns:p14="http://schemas.microsoft.com/office/powerpoint/2010/main" val="1434232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with SharePoint-Only Data</a:t>
            </a:r>
            <a:endParaRPr lang="en-US" dirty="0"/>
          </a:p>
        </p:txBody>
      </p:sp>
      <p:sp>
        <p:nvSpPr>
          <p:cNvPr id="3" name="Content Placeholder 2"/>
          <p:cNvSpPr>
            <a:spLocks noGrp="1"/>
          </p:cNvSpPr>
          <p:nvPr>
            <p:ph idx="1"/>
          </p:nvPr>
        </p:nvSpPr>
        <p:spPr/>
        <p:txBody>
          <a:bodyPr/>
          <a:lstStyle/>
          <a:p>
            <a:r>
              <a:rPr lang="en-US" dirty="0" smtClean="0"/>
              <a:t>SharePoint-Hosted App</a:t>
            </a:r>
          </a:p>
          <a:p>
            <a:r>
              <a:rPr lang="en-US" dirty="0" smtClean="0"/>
              <a:t>JSOM-only</a:t>
            </a:r>
            <a:endParaRPr lang="en-US" dirty="0"/>
          </a:p>
        </p:txBody>
      </p:sp>
    </p:spTree>
    <p:extLst>
      <p:ext uri="{BB962C8B-B14F-4D97-AF65-F5344CB8AC3E}">
        <p14:creationId xmlns:p14="http://schemas.microsoft.com/office/powerpoint/2010/main" val="21068565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Tiered Application</a:t>
            </a:r>
            <a:endParaRPr lang="en-US" dirty="0"/>
          </a:p>
        </p:txBody>
      </p:sp>
      <p:sp>
        <p:nvSpPr>
          <p:cNvPr id="3" name="Content Placeholder 2"/>
          <p:cNvSpPr>
            <a:spLocks noGrp="1"/>
          </p:cNvSpPr>
          <p:nvPr>
            <p:ph idx="1"/>
          </p:nvPr>
        </p:nvSpPr>
        <p:spPr>
          <a:xfrm>
            <a:off x="1141412" y="2249486"/>
            <a:ext cx="9905999" cy="3913569"/>
          </a:xfrm>
        </p:spPr>
        <p:txBody>
          <a:bodyPr>
            <a:normAutofit lnSpcReduction="10000"/>
          </a:bodyPr>
          <a:lstStyle/>
          <a:p>
            <a:r>
              <a:rPr lang="en-US" dirty="0" smtClean="0"/>
              <a:t>SharePoint-Hosted App</a:t>
            </a:r>
          </a:p>
          <a:p>
            <a:r>
              <a:rPr lang="en-US" dirty="0" smtClean="0"/>
              <a:t>Guiding Principals</a:t>
            </a:r>
          </a:p>
          <a:p>
            <a:pPr lvl="1"/>
            <a:r>
              <a:rPr lang="en-US" dirty="0" smtClean="0"/>
              <a:t>Approach as a web app, not a SharePoint app. Feel free to use Node.js, Java, etc.</a:t>
            </a:r>
          </a:p>
          <a:p>
            <a:pPr lvl="1"/>
            <a:r>
              <a:rPr lang="en-US" dirty="0" smtClean="0"/>
              <a:t>JSOM </a:t>
            </a:r>
            <a:r>
              <a:rPr lang="en-US" dirty="0"/>
              <a:t>for everything the user needs to do. CSOM only for system </a:t>
            </a:r>
            <a:r>
              <a:rPr lang="en-US" dirty="0" smtClean="0"/>
              <a:t>tasks.</a:t>
            </a:r>
          </a:p>
          <a:p>
            <a:r>
              <a:rPr lang="en-US" dirty="0" smtClean="0"/>
              <a:t>Web API services hosted as an Azure Web App (</a:t>
            </a:r>
            <a:r>
              <a:rPr lang="en-US" dirty="0" err="1" smtClean="0"/>
              <a:t>Startup.cs</a:t>
            </a:r>
            <a:r>
              <a:rPr lang="en-US" dirty="0" smtClean="0"/>
              <a:t>)</a:t>
            </a:r>
          </a:p>
          <a:p>
            <a:pPr lvl="1"/>
            <a:r>
              <a:rPr lang="en-US" dirty="0" smtClean="0"/>
              <a:t>Make sure you Install-Package </a:t>
            </a:r>
            <a:r>
              <a:rPr lang="en-US" dirty="0" err="1" smtClean="0"/>
              <a:t>Microsoft.Owin.Host.SystemWeb</a:t>
            </a:r>
            <a:endParaRPr lang="en-US" dirty="0" smtClean="0"/>
          </a:p>
          <a:p>
            <a:r>
              <a:rPr lang="en-US" dirty="0" smtClean="0"/>
              <a:t>Authenticated via ADAL.JS and Azure AD</a:t>
            </a:r>
          </a:p>
          <a:p>
            <a:r>
              <a:rPr lang="en-US" dirty="0" smtClean="0"/>
              <a:t>App Part requests token from parent page (implemented in Custom UI)</a:t>
            </a:r>
          </a:p>
        </p:txBody>
      </p:sp>
    </p:spTree>
    <p:extLst>
      <p:ext uri="{BB962C8B-B14F-4D97-AF65-F5344CB8AC3E}">
        <p14:creationId xmlns:p14="http://schemas.microsoft.com/office/powerpoint/2010/main" val="19680897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duled Tasks</a:t>
            </a:r>
            <a:endParaRPr lang="en-US" dirty="0"/>
          </a:p>
        </p:txBody>
      </p:sp>
      <p:sp>
        <p:nvSpPr>
          <p:cNvPr id="3" name="Content Placeholder 2"/>
          <p:cNvSpPr>
            <a:spLocks noGrp="1"/>
          </p:cNvSpPr>
          <p:nvPr>
            <p:ph idx="1"/>
          </p:nvPr>
        </p:nvSpPr>
        <p:spPr/>
        <p:txBody>
          <a:bodyPr/>
          <a:lstStyle/>
          <a:p>
            <a:r>
              <a:rPr lang="en-US" dirty="0" smtClean="0"/>
              <a:t>Web Job in Azure Web App (recommend separate Web App)</a:t>
            </a:r>
          </a:p>
          <a:p>
            <a:r>
              <a:rPr lang="en-US" dirty="0" smtClean="0"/>
              <a:t>Leverages Azure Queue</a:t>
            </a:r>
          </a:p>
          <a:p>
            <a:r>
              <a:rPr lang="en-US" dirty="0" smtClean="0"/>
              <a:t>Credentials/Connection Strings stored in Azure Web App Connection Strings</a:t>
            </a:r>
          </a:p>
          <a:p>
            <a:r>
              <a:rPr lang="en-US" dirty="0" smtClean="0"/>
              <a:t>Can be scheduled</a:t>
            </a:r>
            <a:endParaRPr lang="en-US" dirty="0"/>
          </a:p>
        </p:txBody>
      </p:sp>
    </p:spTree>
    <p:extLst>
      <p:ext uri="{BB962C8B-B14F-4D97-AF65-F5344CB8AC3E}">
        <p14:creationId xmlns:p14="http://schemas.microsoft.com/office/powerpoint/2010/main" val="18162185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nding Page</a:t>
            </a:r>
            <a:endParaRPr lang="en-US" dirty="0"/>
          </a:p>
        </p:txBody>
      </p:sp>
      <p:sp>
        <p:nvSpPr>
          <p:cNvPr id="3" name="Content Placeholder 2"/>
          <p:cNvSpPr>
            <a:spLocks noGrp="1"/>
          </p:cNvSpPr>
          <p:nvPr>
            <p:ph idx="1"/>
          </p:nvPr>
        </p:nvSpPr>
        <p:spPr/>
        <p:txBody>
          <a:bodyPr/>
          <a:lstStyle/>
          <a:p>
            <a:r>
              <a:rPr lang="en-US" dirty="0" smtClean="0"/>
              <a:t>SharePoint-Hosted App to deploy files</a:t>
            </a:r>
          </a:p>
          <a:p>
            <a:r>
              <a:rPr lang="en-US" dirty="0" smtClean="0"/>
              <a:t>Content Editor Web Parts based on files in Site Assets</a:t>
            </a:r>
          </a:p>
          <a:p>
            <a:r>
              <a:rPr lang="en-US" dirty="0" smtClean="0"/>
              <a:t>Authentication via JWT stored in Property Bag (deployed by scheduled task)</a:t>
            </a:r>
          </a:p>
          <a:p>
            <a:r>
              <a:rPr lang="en-US" dirty="0" smtClean="0"/>
              <a:t>Authorization via Claims in tokens</a:t>
            </a:r>
          </a:p>
        </p:txBody>
      </p:sp>
    </p:spTree>
    <p:extLst>
      <p:ext uri="{BB962C8B-B14F-4D97-AF65-F5344CB8AC3E}">
        <p14:creationId xmlns:p14="http://schemas.microsoft.com/office/powerpoint/2010/main" val="2763829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 Event Receiver</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https</a:t>
            </a:r>
            <a:r>
              <a:rPr lang="en-US" dirty="0"/>
              <a:t>://xxxx.sharepoint.com/_</a:t>
            </a:r>
            <a:r>
              <a:rPr lang="en-US" dirty="0" smtClean="0"/>
              <a:t>layouts/15/appregnew.aspx (register app)</a:t>
            </a:r>
          </a:p>
          <a:p>
            <a:r>
              <a:rPr lang="en-US" dirty="0"/>
              <a:t>Provider-Hosted App (but no associated Web Site)</a:t>
            </a:r>
          </a:p>
          <a:p>
            <a:r>
              <a:rPr lang="en-US" dirty="0" smtClean="0"/>
              <a:t>Put Client ID and Client Secret in </a:t>
            </a:r>
            <a:r>
              <a:rPr lang="en-US" dirty="0" err="1" smtClean="0"/>
              <a:t>web.config</a:t>
            </a:r>
            <a:r>
              <a:rPr lang="en-US" dirty="0" smtClean="0"/>
              <a:t> (or better, modify </a:t>
            </a:r>
            <a:r>
              <a:rPr lang="en-US" dirty="0" err="1" smtClean="0"/>
              <a:t>TokenHelper</a:t>
            </a:r>
            <a:r>
              <a:rPr lang="en-US" dirty="0" smtClean="0"/>
              <a:t>)</a:t>
            </a:r>
          </a:p>
          <a:p>
            <a:r>
              <a:rPr lang="en-US" dirty="0" smtClean="0"/>
              <a:t>Create a SOAP endpoint</a:t>
            </a:r>
          </a:p>
          <a:p>
            <a:r>
              <a:rPr lang="en-US" dirty="0" smtClean="0"/>
              <a:t>Authenticate and authorize using </a:t>
            </a:r>
            <a:r>
              <a:rPr lang="en-US" dirty="0" err="1" smtClean="0"/>
              <a:t>ClientContext</a:t>
            </a:r>
            <a:endParaRPr lang="en-US" dirty="0" smtClean="0"/>
          </a:p>
          <a:p>
            <a:r>
              <a:rPr lang="en-US" dirty="0" smtClean="0"/>
              <a:t>Important: The event registration MUST be made using a SharePoint App’s Context and it can only be removed by the </a:t>
            </a:r>
            <a:r>
              <a:rPr lang="en-US" b="1" i="1" dirty="0" smtClean="0"/>
              <a:t>exact</a:t>
            </a:r>
            <a:r>
              <a:rPr lang="en-US" dirty="0" smtClean="0"/>
              <a:t> </a:t>
            </a:r>
            <a:r>
              <a:rPr lang="en-US" b="1" i="1" dirty="0" smtClean="0"/>
              <a:t>same App</a:t>
            </a:r>
            <a:r>
              <a:rPr lang="en-US" dirty="0" smtClean="0"/>
              <a:t>.</a:t>
            </a:r>
          </a:p>
          <a:p>
            <a:endParaRPr lang="en-US" dirty="0"/>
          </a:p>
        </p:txBody>
      </p:sp>
    </p:spTree>
    <p:extLst>
      <p:ext uri="{BB962C8B-B14F-4D97-AF65-F5344CB8AC3E}">
        <p14:creationId xmlns:p14="http://schemas.microsoft.com/office/powerpoint/2010/main" val="123665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3033215" y="487"/>
            <a:ext cx="5901463" cy="6857027"/>
          </a:xfrm>
          <a:prstGeom prst="rect">
            <a:avLst/>
          </a:prstGeom>
          <a:solidFill>
            <a:srgbClr val="FFC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aphicFrame>
        <p:nvGraphicFramePr>
          <p:cNvPr id="6" name="Diagram 5"/>
          <p:cNvGraphicFramePr/>
          <p:nvPr>
            <p:extLst/>
          </p:nvPr>
        </p:nvGraphicFramePr>
        <p:xfrm>
          <a:off x="717451" y="590322"/>
          <a:ext cx="1867552" cy="56773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nvPr>
        </p:nvGraphicFramePr>
        <p:xfrm>
          <a:off x="3556130" y="590322"/>
          <a:ext cx="1867552" cy="567735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0" name="Diagram 9"/>
          <p:cNvGraphicFramePr/>
          <p:nvPr>
            <p:extLst/>
          </p:nvPr>
        </p:nvGraphicFramePr>
        <p:xfrm>
          <a:off x="6544212" y="590322"/>
          <a:ext cx="1867552" cy="567735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1" name="Diagram 10"/>
          <p:cNvGraphicFramePr/>
          <p:nvPr>
            <p:extLst/>
          </p:nvPr>
        </p:nvGraphicFramePr>
        <p:xfrm>
          <a:off x="9457593" y="590322"/>
          <a:ext cx="1867552" cy="5677357"/>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2" name="Left-Right Arrow 11"/>
          <p:cNvSpPr/>
          <p:nvPr/>
        </p:nvSpPr>
        <p:spPr bwMode="auto">
          <a:xfrm>
            <a:off x="717451" y="6192976"/>
            <a:ext cx="10682396" cy="597617"/>
          </a:xfrm>
          <a:prstGeom prst="leftRightArrow">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p:cNvSpPr txBox="1"/>
          <p:nvPr/>
        </p:nvSpPr>
        <p:spPr>
          <a:xfrm>
            <a:off x="941557" y="6211179"/>
            <a:ext cx="4407422" cy="561211"/>
          </a:xfrm>
          <a:prstGeom prst="rect">
            <a:avLst/>
          </a:prstGeom>
          <a:noFill/>
        </p:spPr>
        <p:txBody>
          <a:bodyPr wrap="square" lIns="179285" tIns="143428" rIns="179285" bIns="143428" rtlCol="0">
            <a:spAutoFit/>
          </a:bodyPr>
          <a:lstStyle/>
          <a:p>
            <a:pPr defTabSz="914367">
              <a:lnSpc>
                <a:spcPct val="90000"/>
              </a:lnSpc>
              <a:spcAft>
                <a:spcPts val="588"/>
              </a:spcAft>
            </a:pPr>
            <a:r>
              <a:rPr lang="en-US" sz="1961" dirty="0" smtClean="0">
                <a:gradFill>
                  <a:gsLst>
                    <a:gs pos="2917">
                      <a:srgbClr val="505050"/>
                    </a:gs>
                    <a:gs pos="30000">
                      <a:srgbClr val="505050"/>
                    </a:gs>
                  </a:gsLst>
                  <a:lin ang="5400000" scaled="0"/>
                </a:gradFill>
                <a:latin typeface="Segoe UI Light"/>
              </a:rPr>
              <a:t>greater </a:t>
            </a:r>
            <a:r>
              <a:rPr lang="en-US" sz="1961" dirty="0">
                <a:gradFill>
                  <a:gsLst>
                    <a:gs pos="2917">
                      <a:srgbClr val="505050"/>
                    </a:gs>
                    <a:gs pos="30000">
                      <a:srgbClr val="505050"/>
                    </a:gs>
                  </a:gsLst>
                  <a:lin ang="5400000" scaled="0"/>
                </a:gradFill>
                <a:latin typeface="Segoe UI Light"/>
              </a:rPr>
              <a:t>control / </a:t>
            </a:r>
            <a:r>
              <a:rPr lang="en-US" sz="1961" dirty="0" smtClean="0">
                <a:gradFill>
                  <a:gsLst>
                    <a:gs pos="2917">
                      <a:srgbClr val="505050"/>
                    </a:gs>
                    <a:gs pos="30000">
                      <a:srgbClr val="505050"/>
                    </a:gs>
                  </a:gsLst>
                  <a:lin ang="5400000" scaled="0"/>
                </a:gradFill>
                <a:latin typeface="Segoe UI Light"/>
              </a:rPr>
              <a:t>higher </a:t>
            </a:r>
            <a:r>
              <a:rPr lang="en-US" sz="1961" dirty="0">
                <a:gradFill>
                  <a:gsLst>
                    <a:gs pos="2917">
                      <a:srgbClr val="505050"/>
                    </a:gs>
                    <a:gs pos="30000">
                      <a:srgbClr val="505050"/>
                    </a:gs>
                  </a:gsLst>
                  <a:lin ang="5400000" scaled="0"/>
                </a:gradFill>
                <a:latin typeface="Segoe UI Light"/>
              </a:rPr>
              <a:t>cost</a:t>
            </a:r>
          </a:p>
        </p:txBody>
      </p:sp>
      <p:sp>
        <p:nvSpPr>
          <p:cNvPr id="14" name="TextBox 13"/>
          <p:cNvSpPr txBox="1"/>
          <p:nvPr/>
        </p:nvSpPr>
        <p:spPr>
          <a:xfrm>
            <a:off x="8055697" y="6211179"/>
            <a:ext cx="3660401" cy="561211"/>
          </a:xfrm>
          <a:prstGeom prst="rect">
            <a:avLst/>
          </a:prstGeom>
          <a:noFill/>
        </p:spPr>
        <p:txBody>
          <a:bodyPr wrap="square" lIns="179285" tIns="143428" rIns="179285" bIns="143428" rtlCol="0">
            <a:spAutoFit/>
          </a:bodyPr>
          <a:lstStyle/>
          <a:p>
            <a:pPr defTabSz="914367">
              <a:lnSpc>
                <a:spcPct val="90000"/>
              </a:lnSpc>
              <a:spcAft>
                <a:spcPts val="588"/>
              </a:spcAft>
            </a:pPr>
            <a:r>
              <a:rPr lang="en-US" sz="1961" dirty="0">
                <a:gradFill>
                  <a:gsLst>
                    <a:gs pos="2917">
                      <a:srgbClr val="505050"/>
                    </a:gs>
                    <a:gs pos="30000">
                      <a:srgbClr val="505050"/>
                    </a:gs>
                  </a:gsLst>
                  <a:lin ang="5400000" scaled="0"/>
                </a:gradFill>
                <a:latin typeface="Segoe UI Light"/>
              </a:rPr>
              <a:t>lower cost / </a:t>
            </a:r>
            <a:r>
              <a:rPr lang="en-US" sz="1961" dirty="0" smtClean="0">
                <a:gradFill>
                  <a:gsLst>
                    <a:gs pos="2917">
                      <a:srgbClr val="505050"/>
                    </a:gs>
                    <a:gs pos="30000">
                      <a:srgbClr val="505050"/>
                    </a:gs>
                  </a:gsLst>
                  <a:lin ang="5400000" scaled="0"/>
                </a:gradFill>
                <a:latin typeface="Segoe UI Light"/>
              </a:rPr>
              <a:t>greater value</a:t>
            </a:r>
            <a:endParaRPr lang="en-US" sz="1961" dirty="0">
              <a:gradFill>
                <a:gsLst>
                  <a:gs pos="2917">
                    <a:srgbClr val="505050"/>
                  </a:gs>
                  <a:gs pos="30000">
                    <a:srgbClr val="505050"/>
                  </a:gs>
                </a:gsLst>
                <a:lin ang="5400000" scaled="0"/>
              </a:gradFill>
              <a:latin typeface="Segoe UI Light"/>
            </a:endParaRPr>
          </a:p>
        </p:txBody>
      </p:sp>
      <p:sp>
        <p:nvSpPr>
          <p:cNvPr id="15" name="TextBox 14"/>
          <p:cNvSpPr txBox="1"/>
          <p:nvPr/>
        </p:nvSpPr>
        <p:spPr>
          <a:xfrm>
            <a:off x="866856" y="120057"/>
            <a:ext cx="1577404"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a:gradFill>
                  <a:gsLst>
                    <a:gs pos="2917">
                      <a:srgbClr val="505050"/>
                    </a:gs>
                    <a:gs pos="30000">
                      <a:srgbClr val="505050"/>
                    </a:gs>
                  </a:gsLst>
                  <a:lin ang="5400000" scaled="0"/>
                </a:gradFill>
                <a:latin typeface="Segoe UI Light"/>
              </a:rPr>
              <a:t>On-Premises</a:t>
            </a:r>
          </a:p>
        </p:txBody>
      </p:sp>
      <p:sp>
        <p:nvSpPr>
          <p:cNvPr id="16" name="TextBox 15"/>
          <p:cNvSpPr txBox="1"/>
          <p:nvPr/>
        </p:nvSpPr>
        <p:spPr>
          <a:xfrm>
            <a:off x="3033215" y="121717"/>
            <a:ext cx="2873189"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a:gradFill>
                  <a:gsLst>
                    <a:gs pos="2917">
                      <a:srgbClr val="505050"/>
                    </a:gs>
                    <a:gs pos="30000">
                      <a:srgbClr val="505050"/>
                    </a:gs>
                  </a:gsLst>
                  <a:lin ang="5400000" scaled="0"/>
                </a:gradFill>
                <a:latin typeface="Segoe UI Light"/>
              </a:rPr>
              <a:t>Infrastructure-as-a-Service</a:t>
            </a:r>
          </a:p>
        </p:txBody>
      </p:sp>
      <p:sp>
        <p:nvSpPr>
          <p:cNvPr id="17" name="TextBox 16"/>
          <p:cNvSpPr txBox="1"/>
          <p:nvPr/>
        </p:nvSpPr>
        <p:spPr>
          <a:xfrm>
            <a:off x="6287710" y="121716"/>
            <a:ext cx="2422863"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a:gradFill>
                  <a:gsLst>
                    <a:gs pos="2917">
                      <a:srgbClr val="505050"/>
                    </a:gs>
                    <a:gs pos="30000">
                      <a:srgbClr val="505050"/>
                    </a:gs>
                  </a:gsLst>
                  <a:lin ang="5400000" scaled="0"/>
                </a:gradFill>
                <a:latin typeface="Segoe UI Light"/>
              </a:rPr>
              <a:t>Platform-as-a-Service</a:t>
            </a:r>
          </a:p>
        </p:txBody>
      </p:sp>
      <p:sp>
        <p:nvSpPr>
          <p:cNvPr id="19" name="TextBox 18"/>
          <p:cNvSpPr txBox="1"/>
          <p:nvPr/>
        </p:nvSpPr>
        <p:spPr>
          <a:xfrm>
            <a:off x="9152399" y="120058"/>
            <a:ext cx="2504902"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smtClean="0">
                <a:gradFill>
                  <a:gsLst>
                    <a:gs pos="2917">
                      <a:srgbClr val="505050"/>
                    </a:gs>
                    <a:gs pos="30000">
                      <a:srgbClr val="505050"/>
                    </a:gs>
                  </a:gsLst>
                  <a:lin ang="5400000" scaled="0"/>
                </a:gradFill>
                <a:latin typeface="Segoe UI Light"/>
              </a:rPr>
              <a:t>Software-as-a-Service</a:t>
            </a:r>
            <a:endParaRPr lang="en-US" sz="1765" b="1" dirty="0">
              <a:gradFill>
                <a:gsLst>
                  <a:gs pos="2917">
                    <a:srgbClr val="505050"/>
                  </a:gs>
                  <a:gs pos="30000">
                    <a:srgbClr val="505050"/>
                  </a:gs>
                </a:gsLst>
                <a:lin ang="5400000" scaled="0"/>
              </a:gradFill>
              <a:latin typeface="Segoe UI Light"/>
            </a:endParaRPr>
          </a:p>
        </p:txBody>
      </p:sp>
      <p:sp>
        <p:nvSpPr>
          <p:cNvPr id="23" name="TextBox 22"/>
          <p:cNvSpPr txBox="1"/>
          <p:nvPr/>
        </p:nvSpPr>
        <p:spPr>
          <a:xfrm rot="5400000">
            <a:off x="5423681" y="2758856"/>
            <a:ext cx="1120531"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latin typeface="Segoe UI Light"/>
              </a:rPr>
              <a:t>Azure</a:t>
            </a:r>
          </a:p>
        </p:txBody>
      </p:sp>
    </p:spTree>
    <p:extLst>
      <p:ext uri="{BB962C8B-B14F-4D97-AF65-F5344CB8AC3E}">
        <p14:creationId xmlns:p14="http://schemas.microsoft.com/office/powerpoint/2010/main" val="206191309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Azure </a:t>
            </a:r>
            <a:r>
              <a:rPr lang="en-US" dirty="0" smtClean="0">
                <a:solidFill>
                  <a:schemeClr val="bg1"/>
                </a:solidFill>
              </a:rPr>
              <a:t>services</a:t>
            </a:r>
            <a:endParaRPr lang="nl-NL" dirty="0">
              <a:solidFill>
                <a:schemeClr val="bg1"/>
              </a:solidFill>
            </a:endParaRPr>
          </a:p>
        </p:txBody>
      </p:sp>
      <p:grpSp>
        <p:nvGrpSpPr>
          <p:cNvPr id="3" name="Group 2"/>
          <p:cNvGrpSpPr/>
          <p:nvPr/>
        </p:nvGrpSpPr>
        <p:grpSpPr>
          <a:xfrm>
            <a:off x="52675" y="1099448"/>
            <a:ext cx="5024421" cy="696108"/>
            <a:chOff x="50242" y="3682776"/>
            <a:chExt cx="5026443" cy="696387"/>
          </a:xfrm>
        </p:grpSpPr>
        <p:sp>
          <p:nvSpPr>
            <p:cNvPr id="4" name="TextBox 3"/>
            <p:cNvSpPr txBox="1"/>
            <p:nvPr/>
          </p:nvSpPr>
          <p:spPr>
            <a:xfrm>
              <a:off x="58259" y="3682776"/>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FFF71C"/>
                  </a:solidFill>
                  <a:latin typeface="Segoe UI Semibold" panose="020B0702040204020203" pitchFamily="34" charset="0"/>
                  <a:ea typeface="Arial Unicode MS" panose="020B0604020202020204" pitchFamily="34" charset="-128"/>
                  <a:cs typeface="Segoe UI Semibold" panose="020B0702040204020203" pitchFamily="34" charset="0"/>
                </a:rPr>
                <a:t>COMPUTE</a:t>
              </a:r>
            </a:p>
          </p:txBody>
        </p:sp>
        <p:grpSp>
          <p:nvGrpSpPr>
            <p:cNvPr id="5" name="Group 4"/>
            <p:cNvGrpSpPr/>
            <p:nvPr/>
          </p:nvGrpSpPr>
          <p:grpSpPr>
            <a:xfrm>
              <a:off x="50242" y="3837998"/>
              <a:ext cx="972361" cy="533978"/>
              <a:chOff x="42431" y="3837998"/>
              <a:chExt cx="972361" cy="533978"/>
            </a:xfrm>
          </p:grpSpPr>
          <p:sp>
            <p:nvSpPr>
              <p:cNvPr id="31" name="Rounded Rectangle 3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2" name="TextBox 3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rtu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s</a:t>
                </a:r>
              </a:p>
            </p:txBody>
          </p:sp>
          <p:sp>
            <p:nvSpPr>
              <p:cNvPr id="33" name="TextBox 3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prstClr val="white">
                        <a:lumMod val="75000"/>
                      </a:prstClr>
                    </a:solidFill>
                    <a:latin typeface="Segoe UI Light" panose="020B0502040204020203" pitchFamily="34" charset="0"/>
                    <a:ea typeface="Arial Unicode MS" panose="020B0604020202020204" pitchFamily="34" charset="-128"/>
                    <a:cs typeface="Segoe UI Light" panose="020B0502040204020203" pitchFamily="34" charset="0"/>
                  </a:rPr>
                  <a:t>Get full control over a server in the cloud and maintain it as your business requires.</a:t>
                </a:r>
              </a:p>
            </p:txBody>
          </p:sp>
          <p:pic>
            <p:nvPicPr>
              <p:cNvPr id="34" name="Picture 33"/>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62967" y="3845185"/>
                <a:ext cx="219453" cy="219453"/>
              </a:xfrm>
              <a:prstGeom prst="rect">
                <a:avLst/>
              </a:prstGeom>
              <a:ln>
                <a:solidFill>
                  <a:srgbClr val="1B3C72"/>
                </a:solidFill>
              </a:ln>
            </p:spPr>
          </p:pic>
        </p:grpSp>
        <p:grpSp>
          <p:nvGrpSpPr>
            <p:cNvPr id="6" name="Group 5"/>
            <p:cNvGrpSpPr/>
            <p:nvPr/>
          </p:nvGrpSpPr>
          <p:grpSpPr>
            <a:xfrm>
              <a:off x="1071864" y="3837996"/>
              <a:ext cx="972361" cy="533979"/>
              <a:chOff x="42431" y="4450248"/>
              <a:chExt cx="972361" cy="533979"/>
            </a:xfrm>
          </p:grpSpPr>
          <p:grpSp>
            <p:nvGrpSpPr>
              <p:cNvPr id="26" name="Group 25"/>
              <p:cNvGrpSpPr/>
              <p:nvPr/>
            </p:nvGrpSpPr>
            <p:grpSpPr>
              <a:xfrm>
                <a:off x="42431" y="4450249"/>
                <a:ext cx="972361" cy="533978"/>
                <a:chOff x="42431" y="3837998"/>
                <a:chExt cx="972361" cy="533978"/>
              </a:xfrm>
            </p:grpSpPr>
            <p:sp>
              <p:nvSpPr>
                <p:cNvPr id="28" name="Rounded Rectangle 2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9" name="TextBox 2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sp>
              <p:nvSpPr>
                <p:cNvPr id="30" name="TextBox 2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naged Virtual Machines with specific web and worker roles that are stateless</a:t>
                  </a:r>
                </a:p>
              </p:txBody>
            </p:sp>
          </p:grpSp>
          <p:pic>
            <p:nvPicPr>
              <p:cNvPr id="27" name="Picture 2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3890" y="4450248"/>
                <a:ext cx="218083" cy="218083"/>
              </a:xfrm>
              <a:prstGeom prst="rect">
                <a:avLst/>
              </a:prstGeom>
            </p:spPr>
          </p:pic>
        </p:grpSp>
        <p:grpSp>
          <p:nvGrpSpPr>
            <p:cNvPr id="7" name="Group 6"/>
            <p:cNvGrpSpPr/>
            <p:nvPr/>
          </p:nvGrpSpPr>
          <p:grpSpPr>
            <a:xfrm>
              <a:off x="2086076" y="3837996"/>
              <a:ext cx="972361" cy="533978"/>
              <a:chOff x="42431" y="5054549"/>
              <a:chExt cx="972361" cy="533978"/>
            </a:xfrm>
          </p:grpSpPr>
          <p:grpSp>
            <p:nvGrpSpPr>
              <p:cNvPr id="21" name="Group 20"/>
              <p:cNvGrpSpPr/>
              <p:nvPr/>
            </p:nvGrpSpPr>
            <p:grpSpPr>
              <a:xfrm>
                <a:off x="42431" y="5054549"/>
                <a:ext cx="972361" cy="533978"/>
                <a:chOff x="42431" y="3837998"/>
                <a:chExt cx="972361" cy="533978"/>
              </a:xfrm>
            </p:grpSpPr>
            <p:sp>
              <p:nvSpPr>
                <p:cNvPr id="23" name="Rounded Rectangle 2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4" name="TextBox 2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sp>
              <p:nvSpPr>
                <p:cNvPr id="25" name="TextBox 2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For running large scale parallel and high performance computing (HPC) applications </a:t>
                  </a:r>
                </a:p>
              </p:txBody>
            </p:sp>
          </p:grpSp>
          <p:pic>
            <p:nvPicPr>
              <p:cNvPr id="22" name="Picture 2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7826" y="5062499"/>
                <a:ext cx="224147" cy="224147"/>
              </a:xfrm>
              <a:prstGeom prst="rect">
                <a:avLst/>
              </a:prstGeom>
            </p:spPr>
          </p:pic>
        </p:grpSp>
        <p:grpSp>
          <p:nvGrpSpPr>
            <p:cNvPr id="8" name="Group 7"/>
            <p:cNvGrpSpPr/>
            <p:nvPr/>
          </p:nvGrpSpPr>
          <p:grpSpPr>
            <a:xfrm>
              <a:off x="3096340" y="3837995"/>
              <a:ext cx="972689" cy="533978"/>
              <a:chOff x="42103" y="5668911"/>
              <a:chExt cx="972689" cy="533978"/>
            </a:xfrm>
          </p:grpSpPr>
          <p:grpSp>
            <p:nvGrpSpPr>
              <p:cNvPr id="16" name="Group 15"/>
              <p:cNvGrpSpPr/>
              <p:nvPr/>
            </p:nvGrpSpPr>
            <p:grpSpPr>
              <a:xfrm>
                <a:off x="42431" y="5668911"/>
                <a:ext cx="972361" cy="533978"/>
                <a:chOff x="42431" y="3837998"/>
                <a:chExt cx="972361" cy="533978"/>
              </a:xfrm>
            </p:grpSpPr>
            <p:sp>
              <p:nvSpPr>
                <p:cNvPr id="18" name="Rounded Rectangle 1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9" name="TextBox 1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0" name="TextBox 1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Create jobs that run reliably on simple or complex schedules to invoke any type of service.</a:t>
                  </a:r>
                </a:p>
              </p:txBody>
            </p:sp>
          </p:grpSp>
          <p:pic>
            <p:nvPicPr>
              <p:cNvPr id="17" name="Picture 1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2103" y="5682658"/>
                <a:ext cx="240317" cy="240317"/>
              </a:xfrm>
              <a:prstGeom prst="rect">
                <a:avLst/>
              </a:prstGeom>
            </p:spPr>
          </p:pic>
        </p:grpSp>
        <p:grpSp>
          <p:nvGrpSpPr>
            <p:cNvPr id="9" name="Group 8"/>
            <p:cNvGrpSpPr/>
            <p:nvPr/>
          </p:nvGrpSpPr>
          <p:grpSpPr>
            <a:xfrm>
              <a:off x="4104324" y="3845185"/>
              <a:ext cx="972361" cy="533978"/>
              <a:chOff x="42431" y="6272691"/>
              <a:chExt cx="972361" cy="533978"/>
            </a:xfrm>
          </p:grpSpPr>
          <p:grpSp>
            <p:nvGrpSpPr>
              <p:cNvPr id="11" name="Group 10"/>
              <p:cNvGrpSpPr/>
              <p:nvPr/>
            </p:nvGrpSpPr>
            <p:grpSpPr>
              <a:xfrm>
                <a:off x="42431" y="6272691"/>
                <a:ext cx="972361" cy="533978"/>
                <a:chOff x="42431" y="3837998"/>
                <a:chExt cx="972361" cy="533978"/>
              </a:xfrm>
            </p:grpSpPr>
            <p:sp>
              <p:nvSpPr>
                <p:cNvPr id="13" name="Rounded Rectangle 1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4" name="TextBox 1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sp>
              <p:nvSpPr>
                <p:cNvPr id="15" name="TextBox 1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Access Windows apps that run within the Service on VM’s from any device and any location. </a:t>
                  </a:r>
                </a:p>
              </p:txBody>
            </p:sp>
          </p:grpSp>
          <p:pic>
            <p:nvPicPr>
              <p:cNvPr id="12" name="Picture 11"/>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8569" y="6288639"/>
                <a:ext cx="213852" cy="213852"/>
              </a:xfrm>
              <a:prstGeom prst="rect">
                <a:avLst/>
              </a:prstGeom>
            </p:spPr>
          </p:pic>
        </p:grpSp>
        <p:cxnSp>
          <p:nvCxnSpPr>
            <p:cNvPr id="10" name="Straight Connector 9"/>
            <p:cNvCxnSpPr/>
            <p:nvPr/>
          </p:nvCxnSpPr>
          <p:spPr>
            <a:xfrm>
              <a:off x="58259" y="3817804"/>
              <a:ext cx="5018097" cy="0"/>
            </a:xfrm>
            <a:prstGeom prst="line">
              <a:avLst/>
            </a:prstGeom>
            <a:ln w="19050">
              <a:solidFill>
                <a:srgbClr val="FFF71C"/>
              </a:solidFill>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5114669" y="1104664"/>
            <a:ext cx="2998365" cy="687167"/>
            <a:chOff x="5114274" y="3687994"/>
            <a:chExt cx="2999571" cy="687443"/>
          </a:xfrm>
        </p:grpSpPr>
        <p:sp>
          <p:nvSpPr>
            <p:cNvPr id="36" name="TextBox 35"/>
            <p:cNvSpPr txBox="1"/>
            <p:nvPr/>
          </p:nvSpPr>
          <p:spPr>
            <a:xfrm>
              <a:off x="5115592" y="3687994"/>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EE9121"/>
                  </a:solidFill>
                  <a:latin typeface="Segoe UI Semibold" panose="020B0702040204020203" pitchFamily="34" charset="0"/>
                  <a:ea typeface="Arial Unicode MS" panose="020B0604020202020204" pitchFamily="34" charset="-128"/>
                  <a:cs typeface="Segoe UI Semibold" panose="020B0702040204020203" pitchFamily="34" charset="0"/>
                </a:rPr>
                <a:t>NETWORKING</a:t>
              </a:r>
            </a:p>
          </p:txBody>
        </p:sp>
        <p:grpSp>
          <p:nvGrpSpPr>
            <p:cNvPr id="37" name="Group 36"/>
            <p:cNvGrpSpPr/>
            <p:nvPr/>
          </p:nvGrpSpPr>
          <p:grpSpPr>
            <a:xfrm>
              <a:off x="5114274" y="3837995"/>
              <a:ext cx="972361" cy="533978"/>
              <a:chOff x="2271823" y="3837998"/>
              <a:chExt cx="972361" cy="533978"/>
            </a:xfrm>
          </p:grpSpPr>
          <p:grpSp>
            <p:nvGrpSpPr>
              <p:cNvPr id="51" name="Group 50"/>
              <p:cNvGrpSpPr/>
              <p:nvPr/>
            </p:nvGrpSpPr>
            <p:grpSpPr>
              <a:xfrm>
                <a:off x="2271823" y="3837998"/>
                <a:ext cx="972361" cy="533978"/>
                <a:chOff x="42431" y="3837998"/>
                <a:chExt cx="972361" cy="533978"/>
              </a:xfrm>
            </p:grpSpPr>
            <p:sp>
              <p:nvSpPr>
                <p:cNvPr id="53" name="Rounded Rectangle 5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4" name="TextBox 5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rtu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sp>
              <p:nvSpPr>
                <p:cNvPr id="55" name="TextBox 5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Provision and manage VPNs in Azure and securely link to your on-premises IT infrastructure.</a:t>
                  </a:r>
                </a:p>
              </p:txBody>
            </p:sp>
          </p:grpSp>
          <p:pic>
            <p:nvPicPr>
              <p:cNvPr id="52" name="Picture 5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295977" y="3853362"/>
                <a:ext cx="229949" cy="229949"/>
              </a:xfrm>
              <a:prstGeom prst="rect">
                <a:avLst/>
              </a:prstGeom>
            </p:spPr>
          </p:pic>
        </p:grpSp>
        <p:grpSp>
          <p:nvGrpSpPr>
            <p:cNvPr id="38" name="Group 37"/>
            <p:cNvGrpSpPr/>
            <p:nvPr/>
          </p:nvGrpSpPr>
          <p:grpSpPr>
            <a:xfrm>
              <a:off x="6123548" y="3841459"/>
              <a:ext cx="972361" cy="533978"/>
              <a:chOff x="2271823" y="4450247"/>
              <a:chExt cx="972361" cy="533978"/>
            </a:xfrm>
          </p:grpSpPr>
          <p:grpSp>
            <p:nvGrpSpPr>
              <p:cNvPr id="46" name="Group 45"/>
              <p:cNvGrpSpPr/>
              <p:nvPr/>
            </p:nvGrpSpPr>
            <p:grpSpPr>
              <a:xfrm>
                <a:off x="2271823" y="4450247"/>
                <a:ext cx="972361" cy="533978"/>
                <a:chOff x="42431" y="3837998"/>
                <a:chExt cx="972361" cy="533978"/>
              </a:xfrm>
            </p:grpSpPr>
            <p:sp>
              <p:nvSpPr>
                <p:cNvPr id="48" name="Rounded Rectangle 4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9" name="TextBox 4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xpress</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oute</a:t>
                  </a:r>
                </a:p>
              </p:txBody>
            </p:sp>
            <p:sp>
              <p:nvSpPr>
                <p:cNvPr id="50" name="TextBox 4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Connect on-premises and cloud data centers directly through dedicated, non-internet lines.</a:t>
                  </a:r>
                </a:p>
              </p:txBody>
            </p:sp>
          </p:grpSp>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2297208" y="4453260"/>
                <a:ext cx="246911" cy="246911"/>
              </a:xfrm>
              <a:prstGeom prst="rect">
                <a:avLst/>
              </a:prstGeom>
            </p:spPr>
          </p:pic>
        </p:grpSp>
        <p:grpSp>
          <p:nvGrpSpPr>
            <p:cNvPr id="39" name="Group 38"/>
            <p:cNvGrpSpPr/>
            <p:nvPr/>
          </p:nvGrpSpPr>
          <p:grpSpPr>
            <a:xfrm>
              <a:off x="7137184" y="3832180"/>
              <a:ext cx="972361" cy="533978"/>
              <a:chOff x="2271823" y="5068962"/>
              <a:chExt cx="972361" cy="533978"/>
            </a:xfrm>
          </p:grpSpPr>
          <p:grpSp>
            <p:nvGrpSpPr>
              <p:cNvPr id="41" name="Group 40"/>
              <p:cNvGrpSpPr/>
              <p:nvPr/>
            </p:nvGrpSpPr>
            <p:grpSpPr>
              <a:xfrm>
                <a:off x="2271823" y="5068962"/>
                <a:ext cx="972361" cy="533978"/>
                <a:chOff x="42431" y="3837998"/>
                <a:chExt cx="972361" cy="533978"/>
              </a:xfrm>
            </p:grpSpPr>
            <p:sp>
              <p:nvSpPr>
                <p:cNvPr id="43" name="Rounded Rectangle 4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4" name="TextBox 4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raffic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r</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45" name="TextBox 4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Load-balance incoming global traffic across multiple services running in multiple data centers.</a:t>
                  </a:r>
                </a:p>
              </p:txBody>
            </p:sp>
          </p:grpSp>
          <p:pic>
            <p:nvPicPr>
              <p:cNvPr id="42" name="Picture 4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303315" y="5084864"/>
                <a:ext cx="210993" cy="210993"/>
              </a:xfrm>
              <a:prstGeom prst="rect">
                <a:avLst/>
              </a:prstGeom>
            </p:spPr>
          </p:pic>
        </p:grpSp>
        <p:cxnSp>
          <p:nvCxnSpPr>
            <p:cNvPr id="40" name="Straight Connector 39"/>
            <p:cNvCxnSpPr/>
            <p:nvPr/>
          </p:nvCxnSpPr>
          <p:spPr>
            <a:xfrm>
              <a:off x="5115330" y="3817804"/>
              <a:ext cx="2998515" cy="0"/>
            </a:xfrm>
            <a:prstGeom prst="line">
              <a:avLst/>
            </a:prstGeom>
            <a:ln w="19050">
              <a:solidFill>
                <a:srgbClr val="EE9121"/>
              </a:solidFill>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8147304" y="1107681"/>
            <a:ext cx="1984927" cy="670634"/>
            <a:chOff x="8148127" y="3691012"/>
            <a:chExt cx="1985726" cy="670905"/>
          </a:xfrm>
        </p:grpSpPr>
        <p:sp>
          <p:nvSpPr>
            <p:cNvPr id="57" name="TextBox 56"/>
            <p:cNvSpPr txBox="1"/>
            <p:nvPr/>
          </p:nvSpPr>
          <p:spPr>
            <a:xfrm>
              <a:off x="8151622" y="3691012"/>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25CCFD"/>
                  </a:solidFill>
                  <a:latin typeface="Segoe UI Semibold" panose="020B0702040204020203" pitchFamily="34" charset="0"/>
                  <a:ea typeface="Arial Unicode MS" panose="020B0604020202020204" pitchFamily="34" charset="-128"/>
                  <a:cs typeface="Segoe UI Semibold" panose="020B0702040204020203" pitchFamily="34" charset="0"/>
                </a:rPr>
                <a:t>IDENTITY &amp; ACCESS</a:t>
              </a:r>
            </a:p>
          </p:txBody>
        </p:sp>
        <p:grpSp>
          <p:nvGrpSpPr>
            <p:cNvPr id="58" name="Group 57"/>
            <p:cNvGrpSpPr/>
            <p:nvPr/>
          </p:nvGrpSpPr>
          <p:grpSpPr>
            <a:xfrm>
              <a:off x="8148127" y="3827939"/>
              <a:ext cx="972361" cy="533978"/>
              <a:chOff x="8205100" y="3827939"/>
              <a:chExt cx="972361" cy="533978"/>
            </a:xfrm>
          </p:grpSpPr>
          <p:grpSp>
            <p:nvGrpSpPr>
              <p:cNvPr id="66" name="Group 65"/>
              <p:cNvGrpSpPr/>
              <p:nvPr/>
            </p:nvGrpSpPr>
            <p:grpSpPr>
              <a:xfrm>
                <a:off x="8205100" y="3827939"/>
                <a:ext cx="972361" cy="533978"/>
                <a:chOff x="42431" y="3837998"/>
                <a:chExt cx="972361" cy="533978"/>
              </a:xfrm>
            </p:grpSpPr>
            <p:sp>
              <p:nvSpPr>
                <p:cNvPr id="68" name="Rounded Rectangle 6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69" name="TextBox 6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sp>
              <p:nvSpPr>
                <p:cNvPr id="70" name="TextBox 6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dentity and access management for cloud applications and ability to link to on-premises Server AD.</a:t>
                  </a:r>
                </a:p>
              </p:txBody>
            </p:sp>
          </p:grpSp>
          <p:pic>
            <p:nvPicPr>
              <p:cNvPr id="67" name="Picture 66" descr="Azure Active Directo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252418" y="3851681"/>
                <a:ext cx="231267" cy="231267"/>
              </a:xfrm>
              <a:prstGeom prst="rect">
                <a:avLst/>
              </a:prstGeom>
            </p:spPr>
          </p:pic>
        </p:grpSp>
        <p:grpSp>
          <p:nvGrpSpPr>
            <p:cNvPr id="59" name="Group 58"/>
            <p:cNvGrpSpPr/>
            <p:nvPr/>
          </p:nvGrpSpPr>
          <p:grpSpPr>
            <a:xfrm>
              <a:off x="9159025" y="3824394"/>
              <a:ext cx="972361" cy="533978"/>
              <a:chOff x="8963432" y="4446669"/>
              <a:chExt cx="972361" cy="533978"/>
            </a:xfrm>
          </p:grpSpPr>
          <p:grpSp>
            <p:nvGrpSpPr>
              <p:cNvPr id="61" name="Group 60"/>
              <p:cNvGrpSpPr/>
              <p:nvPr/>
            </p:nvGrpSpPr>
            <p:grpSpPr>
              <a:xfrm>
                <a:off x="8963432" y="4446669"/>
                <a:ext cx="972361" cy="533978"/>
                <a:chOff x="42431" y="3837998"/>
                <a:chExt cx="972361" cy="533978"/>
              </a:xfrm>
            </p:grpSpPr>
            <p:sp>
              <p:nvSpPr>
                <p:cNvPr id="63" name="Rounded Rectangle 6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64" name="TextBox 6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sp>
              <p:nvSpPr>
                <p:cNvPr id="65" name="TextBox 6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Safeguard access to data and apps with additional physical layer of security control.</a:t>
                  </a:r>
                </a:p>
              </p:txBody>
            </p:sp>
          </p:grpSp>
          <p:pic>
            <p:nvPicPr>
              <p:cNvPr id="62" name="Picture 61" descr="Multi-Factor Authentication.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8982751" y="4454757"/>
                <a:ext cx="235157" cy="235157"/>
              </a:xfrm>
              <a:prstGeom prst="rect">
                <a:avLst/>
              </a:prstGeom>
            </p:spPr>
          </p:pic>
        </p:grpSp>
        <p:cxnSp>
          <p:nvCxnSpPr>
            <p:cNvPr id="60" name="Straight Connector 59"/>
            <p:cNvCxnSpPr/>
            <p:nvPr/>
          </p:nvCxnSpPr>
          <p:spPr>
            <a:xfrm>
              <a:off x="8148127" y="3817804"/>
              <a:ext cx="1985726" cy="0"/>
            </a:xfrm>
            <a:prstGeom prst="line">
              <a:avLst/>
            </a:prstGeom>
            <a:ln w="19050">
              <a:solidFill>
                <a:srgbClr val="25CCFD"/>
              </a:solidFill>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10166498" y="1106506"/>
            <a:ext cx="1984927" cy="677646"/>
            <a:chOff x="10168135" y="3689836"/>
            <a:chExt cx="1985726" cy="677919"/>
          </a:xfrm>
        </p:grpSpPr>
        <p:sp>
          <p:nvSpPr>
            <p:cNvPr id="72" name="TextBox 71"/>
            <p:cNvSpPr txBox="1"/>
            <p:nvPr/>
          </p:nvSpPr>
          <p:spPr>
            <a:xfrm>
              <a:off x="10171351" y="3689836"/>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FFFF16"/>
                  </a:solidFill>
                  <a:latin typeface="Segoe UI Semibold" panose="020B0702040204020203" pitchFamily="34" charset="0"/>
                  <a:ea typeface="Arial Unicode MS" panose="020B0604020202020204" pitchFamily="34" charset="-128"/>
                  <a:cs typeface="Segoe UI Semibold" panose="020B0702040204020203" pitchFamily="34" charset="0"/>
                </a:rPr>
                <a:t>MEDIA &amp; CDN</a:t>
              </a:r>
            </a:p>
          </p:txBody>
        </p:sp>
        <p:grpSp>
          <p:nvGrpSpPr>
            <p:cNvPr id="73" name="Group 72"/>
            <p:cNvGrpSpPr/>
            <p:nvPr/>
          </p:nvGrpSpPr>
          <p:grpSpPr>
            <a:xfrm>
              <a:off x="11179872" y="3832582"/>
              <a:ext cx="972361" cy="533978"/>
              <a:chOff x="10297083" y="4645166"/>
              <a:chExt cx="972361" cy="533978"/>
            </a:xfrm>
          </p:grpSpPr>
          <p:grpSp>
            <p:nvGrpSpPr>
              <p:cNvPr id="81" name="Group 80"/>
              <p:cNvGrpSpPr/>
              <p:nvPr/>
            </p:nvGrpSpPr>
            <p:grpSpPr>
              <a:xfrm>
                <a:off x="10297083" y="4645166"/>
                <a:ext cx="972361" cy="533978"/>
                <a:chOff x="42431" y="3837998"/>
                <a:chExt cx="972361" cy="533978"/>
              </a:xfrm>
            </p:grpSpPr>
            <p:sp>
              <p:nvSpPr>
                <p:cNvPr id="83" name="Rounded Rectangle 8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84" name="TextBox 8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6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6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sp>
              <p:nvSpPr>
                <p:cNvPr id="85" name="TextBox 8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Cache content for your apps at 100’s of edge locations to improve user experiences.</a:t>
                  </a:r>
                </a:p>
              </p:txBody>
            </p:sp>
          </p:grpSp>
          <p:pic>
            <p:nvPicPr>
              <p:cNvPr id="82" name="Picture 81" descr="Content Delivery Network (CDN).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316719" y="4654056"/>
                <a:ext cx="256021" cy="256021"/>
              </a:xfrm>
              <a:prstGeom prst="rect">
                <a:avLst/>
              </a:prstGeom>
            </p:spPr>
          </p:pic>
        </p:grpSp>
        <p:grpSp>
          <p:nvGrpSpPr>
            <p:cNvPr id="74" name="Group 73"/>
            <p:cNvGrpSpPr/>
            <p:nvPr/>
          </p:nvGrpSpPr>
          <p:grpSpPr>
            <a:xfrm>
              <a:off x="10171183" y="3833777"/>
              <a:ext cx="972361" cy="533978"/>
              <a:chOff x="10297083" y="4035863"/>
              <a:chExt cx="972361" cy="533978"/>
            </a:xfrm>
          </p:grpSpPr>
          <p:grpSp>
            <p:nvGrpSpPr>
              <p:cNvPr id="76" name="Group 75"/>
              <p:cNvGrpSpPr/>
              <p:nvPr/>
            </p:nvGrpSpPr>
            <p:grpSpPr>
              <a:xfrm>
                <a:off x="10297083" y="4035863"/>
                <a:ext cx="972361" cy="533978"/>
                <a:chOff x="42431" y="3837998"/>
                <a:chExt cx="972361" cy="533978"/>
              </a:xfrm>
            </p:grpSpPr>
            <p:sp>
              <p:nvSpPr>
                <p:cNvPr id="78" name="Rounded Rectangle 7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79" name="TextBox 7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sp>
              <p:nvSpPr>
                <p:cNvPr id="80" name="TextBox 7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Range of services that support video on-demand and live streaming workflows.</a:t>
                  </a:r>
                </a:p>
              </p:txBody>
            </p:sp>
          </p:grpSp>
          <p:pic>
            <p:nvPicPr>
              <p:cNvPr id="77" name="Picture 76" descr="Media Services.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304420" y="4044056"/>
                <a:ext cx="234368" cy="234368"/>
              </a:xfrm>
              <a:prstGeom prst="rect">
                <a:avLst/>
              </a:prstGeom>
            </p:spPr>
          </p:pic>
        </p:grpSp>
        <p:cxnSp>
          <p:nvCxnSpPr>
            <p:cNvPr id="75" name="Straight Connector 74"/>
            <p:cNvCxnSpPr/>
            <p:nvPr/>
          </p:nvCxnSpPr>
          <p:spPr>
            <a:xfrm>
              <a:off x="10168135" y="3817804"/>
              <a:ext cx="1985726" cy="0"/>
            </a:xfrm>
            <a:prstGeom prst="line">
              <a:avLst/>
            </a:prstGeom>
            <a:ln w="19050">
              <a:solidFill>
                <a:srgbClr val="FFFF16"/>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63916" y="1839455"/>
            <a:ext cx="965915" cy="209726"/>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C5E42D"/>
                </a:solidFill>
                <a:latin typeface="Segoe UI Semibold" panose="020B0702040204020203" pitchFamily="34" charset="0"/>
                <a:ea typeface="Arial Unicode MS" panose="020B0604020202020204" pitchFamily="34" charset="-128"/>
                <a:cs typeface="Segoe UI Semibold" panose="020B0702040204020203" pitchFamily="34" charset="0"/>
              </a:rPr>
              <a:t>WEB &amp; MOBILE</a:t>
            </a:r>
          </a:p>
        </p:txBody>
      </p:sp>
      <p:grpSp>
        <p:nvGrpSpPr>
          <p:cNvPr id="88" name="Group 87"/>
          <p:cNvGrpSpPr/>
          <p:nvPr/>
        </p:nvGrpSpPr>
        <p:grpSpPr>
          <a:xfrm>
            <a:off x="55325" y="1981206"/>
            <a:ext cx="971970" cy="533764"/>
            <a:chOff x="1137725" y="3837998"/>
            <a:chExt cx="972361" cy="533978"/>
          </a:xfrm>
        </p:grpSpPr>
        <p:grpSp>
          <p:nvGrpSpPr>
            <p:cNvPr id="119" name="Group 118"/>
            <p:cNvGrpSpPr/>
            <p:nvPr/>
          </p:nvGrpSpPr>
          <p:grpSpPr>
            <a:xfrm>
              <a:off x="1137725" y="3837998"/>
              <a:ext cx="972361" cy="533978"/>
              <a:chOff x="42431" y="3837998"/>
              <a:chExt cx="972361" cy="533978"/>
            </a:xfrm>
          </p:grpSpPr>
          <p:sp>
            <p:nvSpPr>
              <p:cNvPr id="121" name="Rounded Rectangle 12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22" name="TextBox 12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sp>
            <p:nvSpPr>
              <p:cNvPr id="123" name="TextBox 12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naged web platform, get started for free and scale as you go using many tools/ languages.</a:t>
                </a:r>
              </a:p>
            </p:txBody>
          </p:sp>
        </p:grpSp>
        <p:pic>
          <p:nvPicPr>
            <p:cNvPr id="120" name="Picture 11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184028" y="3855134"/>
              <a:ext cx="208652" cy="208652"/>
            </a:xfrm>
            <a:prstGeom prst="rect">
              <a:avLst/>
            </a:prstGeom>
          </p:spPr>
        </p:pic>
      </p:grpSp>
      <p:grpSp>
        <p:nvGrpSpPr>
          <p:cNvPr id="89" name="Group 88"/>
          <p:cNvGrpSpPr/>
          <p:nvPr/>
        </p:nvGrpSpPr>
        <p:grpSpPr>
          <a:xfrm>
            <a:off x="1074770" y="1981206"/>
            <a:ext cx="971970" cy="533764"/>
            <a:chOff x="42431" y="3837998"/>
            <a:chExt cx="972361" cy="533978"/>
          </a:xfrm>
        </p:grpSpPr>
        <p:sp>
          <p:nvSpPr>
            <p:cNvPr id="116" name="Rounded Rectangle 115"/>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17" name="TextBox 116"/>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Add backend capabilities to mobile apps, with native client support on most device platforms.</a:t>
              </a:r>
            </a:p>
          </p:txBody>
        </p:sp>
        <p:sp>
          <p:nvSpPr>
            <p:cNvPr id="118" name="TextBox 117"/>
            <p:cNvSpPr txBox="1"/>
            <p:nvPr/>
          </p:nvSpPr>
          <p:spPr>
            <a:xfrm>
              <a:off x="368334" y="3837999"/>
              <a:ext cx="646458" cy="256596"/>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grpSp>
      <p:pic>
        <p:nvPicPr>
          <p:cNvPr id="90" name="Picture 89"/>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23048" y="1997441"/>
            <a:ext cx="201757" cy="201758"/>
          </a:xfrm>
          <a:prstGeom prst="rect">
            <a:avLst/>
          </a:prstGeom>
        </p:spPr>
      </p:pic>
      <p:grpSp>
        <p:nvGrpSpPr>
          <p:cNvPr id="91" name="Group 90"/>
          <p:cNvGrpSpPr/>
          <p:nvPr/>
        </p:nvGrpSpPr>
        <p:grpSpPr>
          <a:xfrm>
            <a:off x="4105631" y="1981205"/>
            <a:ext cx="971970" cy="534326"/>
            <a:chOff x="1137725" y="5053986"/>
            <a:chExt cx="972361" cy="534540"/>
          </a:xfrm>
        </p:grpSpPr>
        <p:grpSp>
          <p:nvGrpSpPr>
            <p:cNvPr id="111" name="Group 110"/>
            <p:cNvGrpSpPr/>
            <p:nvPr/>
          </p:nvGrpSpPr>
          <p:grpSpPr>
            <a:xfrm>
              <a:off x="1137725" y="5054548"/>
              <a:ext cx="972361" cy="533978"/>
              <a:chOff x="42431" y="3837998"/>
              <a:chExt cx="972361" cy="533978"/>
            </a:xfrm>
          </p:grpSpPr>
          <p:sp>
            <p:nvSpPr>
              <p:cNvPr id="113" name="Rounded Rectangle 11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14" name="TextBox 11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115" name="TextBox 11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Publish and Manage APIs to developers, partners and employees securely and at scale.</a:t>
                </a:r>
              </a:p>
            </p:txBody>
          </p:sp>
        </p:grpSp>
        <p:pic>
          <p:nvPicPr>
            <p:cNvPr id="112" name="Picture 111"/>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58952" y="5053986"/>
              <a:ext cx="228304" cy="228304"/>
            </a:xfrm>
            <a:prstGeom prst="rect">
              <a:avLst/>
            </a:prstGeom>
          </p:spPr>
        </p:pic>
      </p:grpSp>
      <p:grpSp>
        <p:nvGrpSpPr>
          <p:cNvPr id="92" name="Group 91"/>
          <p:cNvGrpSpPr/>
          <p:nvPr/>
        </p:nvGrpSpPr>
        <p:grpSpPr>
          <a:xfrm>
            <a:off x="2088798" y="1981206"/>
            <a:ext cx="971970" cy="533764"/>
            <a:chOff x="2189218" y="4645147"/>
            <a:chExt cx="972361" cy="533978"/>
          </a:xfrm>
        </p:grpSpPr>
        <p:grpSp>
          <p:nvGrpSpPr>
            <p:cNvPr id="106" name="Group 105"/>
            <p:cNvGrpSpPr/>
            <p:nvPr/>
          </p:nvGrpSpPr>
          <p:grpSpPr>
            <a:xfrm>
              <a:off x="2189218" y="4645147"/>
              <a:ext cx="972361" cy="533978"/>
              <a:chOff x="42431" y="3837998"/>
              <a:chExt cx="972361" cy="533978"/>
            </a:xfrm>
          </p:grpSpPr>
          <p:sp>
            <p:nvSpPr>
              <p:cNvPr id="108" name="Rounded Rectangle 10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09" name="TextBox 10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Create and surface your app logic as APIs for other services and apps to consume.</a:t>
                </a:r>
              </a:p>
            </p:txBody>
          </p:sp>
          <p:sp>
            <p:nvSpPr>
              <p:cNvPr id="110" name="TextBox 109"/>
              <p:cNvSpPr txBox="1"/>
              <p:nvPr/>
            </p:nvSpPr>
            <p:spPr>
              <a:xfrm>
                <a:off x="368334" y="3837998"/>
                <a:ext cx="646458" cy="251659"/>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grpSp>
        <p:pic>
          <p:nvPicPr>
            <p:cNvPr id="107" name="Picture 106"/>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2239937" y="4667837"/>
              <a:ext cx="208558" cy="208558"/>
            </a:xfrm>
            <a:prstGeom prst="rect">
              <a:avLst/>
            </a:prstGeom>
          </p:spPr>
        </p:pic>
      </p:grpSp>
      <p:grpSp>
        <p:nvGrpSpPr>
          <p:cNvPr id="93" name="Group 92"/>
          <p:cNvGrpSpPr/>
          <p:nvPr/>
        </p:nvGrpSpPr>
        <p:grpSpPr>
          <a:xfrm>
            <a:off x="3095875" y="1981206"/>
            <a:ext cx="971970" cy="533764"/>
            <a:chOff x="158240" y="6476672"/>
            <a:chExt cx="972361" cy="533978"/>
          </a:xfrm>
        </p:grpSpPr>
        <p:grpSp>
          <p:nvGrpSpPr>
            <p:cNvPr id="101" name="Group 100"/>
            <p:cNvGrpSpPr/>
            <p:nvPr/>
          </p:nvGrpSpPr>
          <p:grpSpPr>
            <a:xfrm>
              <a:off x="158240" y="6476672"/>
              <a:ext cx="972361" cy="533978"/>
              <a:chOff x="42431" y="3837998"/>
              <a:chExt cx="972361" cy="533978"/>
            </a:xfrm>
          </p:grpSpPr>
          <p:sp>
            <p:nvSpPr>
              <p:cNvPr id="103" name="Rounded Rectangle 10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04" name="TextBox 10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sp>
            <p:nvSpPr>
              <p:cNvPr id="105" name="TextBox 10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Build/execute business processes by linking your own custom API’s with an API Gallery/Marketplace</a:t>
                </a:r>
              </a:p>
            </p:txBody>
          </p:sp>
        </p:grpSp>
        <p:pic>
          <p:nvPicPr>
            <p:cNvPr id="102" name="Picture 101"/>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04543" y="6499780"/>
              <a:ext cx="218285" cy="218285"/>
            </a:xfrm>
            <a:prstGeom prst="rect">
              <a:avLst/>
            </a:prstGeom>
          </p:spPr>
        </p:pic>
      </p:grpSp>
      <p:grpSp>
        <p:nvGrpSpPr>
          <p:cNvPr id="94" name="Group 93"/>
          <p:cNvGrpSpPr/>
          <p:nvPr/>
        </p:nvGrpSpPr>
        <p:grpSpPr>
          <a:xfrm>
            <a:off x="5112959" y="1981206"/>
            <a:ext cx="971970" cy="533764"/>
            <a:chOff x="1137725" y="5674022"/>
            <a:chExt cx="972361" cy="533978"/>
          </a:xfrm>
        </p:grpSpPr>
        <p:grpSp>
          <p:nvGrpSpPr>
            <p:cNvPr id="96" name="Group 95"/>
            <p:cNvGrpSpPr/>
            <p:nvPr/>
          </p:nvGrpSpPr>
          <p:grpSpPr>
            <a:xfrm>
              <a:off x="1137725" y="5674022"/>
              <a:ext cx="972361" cy="533978"/>
              <a:chOff x="42431" y="3837998"/>
              <a:chExt cx="972361" cy="533978"/>
            </a:xfrm>
          </p:grpSpPr>
          <p:sp>
            <p:nvSpPr>
              <p:cNvPr id="98" name="Rounded Rectangle 9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99" name="TextBox 9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sp>
            <p:nvSpPr>
              <p:cNvPr id="100" name="TextBox 9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Deliver millions of cross platform push notifications from any application backend, anywhere.</a:t>
                </a:r>
              </a:p>
            </p:txBody>
          </p:sp>
        </p:grpSp>
        <p:pic>
          <p:nvPicPr>
            <p:cNvPr id="97" name="Picture 9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70231" y="5689571"/>
              <a:ext cx="217025" cy="217025"/>
            </a:xfrm>
            <a:prstGeom prst="rect">
              <a:avLst/>
            </a:prstGeom>
          </p:spPr>
        </p:pic>
      </p:grpSp>
      <p:cxnSp>
        <p:nvCxnSpPr>
          <p:cNvPr id="95" name="Straight Connector 94"/>
          <p:cNvCxnSpPr/>
          <p:nvPr/>
        </p:nvCxnSpPr>
        <p:spPr>
          <a:xfrm>
            <a:off x="60688" y="1957956"/>
            <a:ext cx="6021214" cy="0"/>
          </a:xfrm>
          <a:prstGeom prst="line">
            <a:avLst/>
          </a:prstGeom>
          <a:ln w="19050">
            <a:solidFill>
              <a:srgbClr val="C5E42D"/>
            </a:soli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88" y="2604470"/>
            <a:ext cx="965915" cy="209726"/>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F2921F"/>
                </a:solidFill>
                <a:latin typeface="Segoe UI Semibold" panose="020B0702040204020203" pitchFamily="34" charset="0"/>
                <a:ea typeface="Arial Unicode MS" panose="020B0604020202020204" pitchFamily="34" charset="-128"/>
                <a:cs typeface="Segoe UI Semibold" panose="020B0702040204020203" pitchFamily="34" charset="0"/>
              </a:rPr>
              <a:t>STORAGE &amp; BACKUP</a:t>
            </a:r>
          </a:p>
        </p:txBody>
      </p:sp>
      <p:grpSp>
        <p:nvGrpSpPr>
          <p:cNvPr id="126" name="Group 125"/>
          <p:cNvGrpSpPr/>
          <p:nvPr/>
        </p:nvGrpSpPr>
        <p:grpSpPr>
          <a:xfrm>
            <a:off x="1070095" y="2755166"/>
            <a:ext cx="971970" cy="533764"/>
            <a:chOff x="-1203244" y="2893322"/>
            <a:chExt cx="972361" cy="533978"/>
          </a:xfrm>
        </p:grpSpPr>
        <p:grpSp>
          <p:nvGrpSpPr>
            <p:cNvPr id="152" name="Group 151"/>
            <p:cNvGrpSpPr/>
            <p:nvPr/>
          </p:nvGrpSpPr>
          <p:grpSpPr>
            <a:xfrm>
              <a:off x="-1203244" y="2893322"/>
              <a:ext cx="972361" cy="533978"/>
              <a:chOff x="42431" y="3837998"/>
              <a:chExt cx="972361" cy="533978"/>
            </a:xfrm>
          </p:grpSpPr>
          <p:sp>
            <p:nvSpPr>
              <p:cNvPr id="154" name="Rounded Rectangle 153"/>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55" name="TextBox 154"/>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sp>
            <p:nvSpPr>
              <p:cNvPr id="156" name="TextBox 155"/>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anaged service that handles backup/restore of Windows Server machines/backup agent.</a:t>
                </a:r>
              </a:p>
            </p:txBody>
          </p:sp>
        </p:grpSp>
        <p:pic>
          <p:nvPicPr>
            <p:cNvPr id="153" name="Picture 152" descr="Backup Servic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173757" y="2908709"/>
              <a:ext cx="242857" cy="242857"/>
            </a:xfrm>
            <a:prstGeom prst="rect">
              <a:avLst/>
            </a:prstGeom>
          </p:spPr>
        </p:pic>
      </p:grpSp>
      <p:grpSp>
        <p:nvGrpSpPr>
          <p:cNvPr id="127" name="Group 126"/>
          <p:cNvGrpSpPr/>
          <p:nvPr/>
        </p:nvGrpSpPr>
        <p:grpSpPr>
          <a:xfrm>
            <a:off x="4107502" y="2755166"/>
            <a:ext cx="971970" cy="533764"/>
            <a:chOff x="-1203244" y="4719342"/>
            <a:chExt cx="972361" cy="533978"/>
          </a:xfrm>
        </p:grpSpPr>
        <p:grpSp>
          <p:nvGrpSpPr>
            <p:cNvPr id="147" name="Group 146"/>
            <p:cNvGrpSpPr/>
            <p:nvPr/>
          </p:nvGrpSpPr>
          <p:grpSpPr>
            <a:xfrm>
              <a:off x="-1203244" y="4719342"/>
              <a:ext cx="972361" cy="533978"/>
              <a:chOff x="42431" y="3837998"/>
              <a:chExt cx="972361" cy="533978"/>
            </a:xfrm>
          </p:grpSpPr>
          <p:sp>
            <p:nvSpPr>
              <p:cNvPr id="149" name="Rounded Rectangle 148"/>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50" name="TextBox 149"/>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151" name="TextBox 150"/>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Automated, policy driven solution to extend on-premises primary storage for backup / DR. </a:t>
                </a:r>
              </a:p>
            </p:txBody>
          </p:sp>
        </p:grpSp>
        <p:pic>
          <p:nvPicPr>
            <p:cNvPr id="148" name="Picture 147" descr="StorSimple.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151857" y="4730610"/>
              <a:ext cx="212108" cy="212108"/>
            </a:xfrm>
            <a:prstGeom prst="rect">
              <a:avLst/>
            </a:prstGeom>
          </p:spPr>
        </p:pic>
      </p:grpSp>
      <p:grpSp>
        <p:nvGrpSpPr>
          <p:cNvPr id="128" name="Group 127"/>
          <p:cNvGrpSpPr/>
          <p:nvPr/>
        </p:nvGrpSpPr>
        <p:grpSpPr>
          <a:xfrm>
            <a:off x="3098680" y="2755166"/>
            <a:ext cx="971970" cy="533764"/>
            <a:chOff x="-1203244" y="4110669"/>
            <a:chExt cx="972361" cy="533978"/>
          </a:xfrm>
        </p:grpSpPr>
        <p:grpSp>
          <p:nvGrpSpPr>
            <p:cNvPr id="142" name="Group 141"/>
            <p:cNvGrpSpPr/>
            <p:nvPr/>
          </p:nvGrpSpPr>
          <p:grpSpPr>
            <a:xfrm>
              <a:off x="-1203244" y="4110669"/>
              <a:ext cx="972361" cy="533978"/>
              <a:chOff x="42431" y="3837998"/>
              <a:chExt cx="972361" cy="533978"/>
            </a:xfrm>
          </p:grpSpPr>
          <p:sp>
            <p:nvSpPr>
              <p:cNvPr id="144" name="Rounded Rectangle 143"/>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45" name="TextBox 144"/>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sp>
            <p:nvSpPr>
              <p:cNvPr id="146" name="TextBox 145"/>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Coordinate replication and recovery of System Center private clouds</a:t>
                </a:r>
              </a:p>
            </p:txBody>
          </p:sp>
        </p:grpSp>
        <p:pic>
          <p:nvPicPr>
            <p:cNvPr id="143" name="Picture 142" descr="Site Recovery.png"/>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1167958" y="4115609"/>
              <a:ext cx="233209" cy="233209"/>
            </a:xfrm>
            <a:prstGeom prst="rect">
              <a:avLst/>
            </a:prstGeom>
          </p:spPr>
        </p:pic>
      </p:grpSp>
      <p:grpSp>
        <p:nvGrpSpPr>
          <p:cNvPr id="129" name="Group 128"/>
          <p:cNvGrpSpPr/>
          <p:nvPr/>
        </p:nvGrpSpPr>
        <p:grpSpPr>
          <a:xfrm>
            <a:off x="51558" y="2755166"/>
            <a:ext cx="971970" cy="533764"/>
            <a:chOff x="57861" y="5329567"/>
            <a:chExt cx="972361" cy="533978"/>
          </a:xfrm>
        </p:grpSpPr>
        <p:grpSp>
          <p:nvGrpSpPr>
            <p:cNvPr id="137" name="Group 136"/>
            <p:cNvGrpSpPr/>
            <p:nvPr/>
          </p:nvGrpSpPr>
          <p:grpSpPr>
            <a:xfrm>
              <a:off x="57861" y="5329567"/>
              <a:ext cx="972361" cy="533978"/>
              <a:chOff x="42431" y="3837998"/>
              <a:chExt cx="972361" cy="533978"/>
            </a:xfrm>
          </p:grpSpPr>
          <p:sp>
            <p:nvSpPr>
              <p:cNvPr id="139" name="Rounded Rectangle 138"/>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40" name="TextBox 139"/>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 Blobs</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Files</a:t>
                </a:r>
              </a:p>
            </p:txBody>
          </p:sp>
          <p:sp>
            <p:nvSpPr>
              <p:cNvPr id="141" name="TextBox 140"/>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Store binary application data and web content – store for dedicated and shared virtual disks for VM’s</a:t>
                </a:r>
              </a:p>
            </p:txBody>
          </p:sp>
        </p:grpSp>
        <p:pic>
          <p:nvPicPr>
            <p:cNvPr id="138" name="Picture 137" descr="Storage blob.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11558" y="5336205"/>
              <a:ext cx="242408" cy="242408"/>
            </a:xfrm>
            <a:prstGeom prst="rect">
              <a:avLst/>
            </a:prstGeom>
          </p:spPr>
        </p:pic>
      </p:grpSp>
      <p:grpSp>
        <p:nvGrpSpPr>
          <p:cNvPr id="130" name="Group 129"/>
          <p:cNvGrpSpPr/>
          <p:nvPr/>
        </p:nvGrpSpPr>
        <p:grpSpPr>
          <a:xfrm>
            <a:off x="2088627" y="2755166"/>
            <a:ext cx="971970" cy="533764"/>
            <a:chOff x="-1203244" y="3497313"/>
            <a:chExt cx="972361" cy="533978"/>
          </a:xfrm>
        </p:grpSpPr>
        <p:grpSp>
          <p:nvGrpSpPr>
            <p:cNvPr id="132" name="Group 131"/>
            <p:cNvGrpSpPr/>
            <p:nvPr/>
          </p:nvGrpSpPr>
          <p:grpSpPr>
            <a:xfrm>
              <a:off x="-1203244" y="3497313"/>
              <a:ext cx="972361" cy="533978"/>
              <a:chOff x="42431" y="3837998"/>
              <a:chExt cx="972361" cy="533978"/>
            </a:xfrm>
          </p:grpSpPr>
          <p:sp>
            <p:nvSpPr>
              <p:cNvPr id="134" name="Rounded Rectangle 133"/>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35" name="TextBox 134"/>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sp>
            <p:nvSpPr>
              <p:cNvPr id="136" name="TextBox 135"/>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For massive data transfer – ship encrypted disks to move data in/out of blob storage.</a:t>
                </a:r>
              </a:p>
            </p:txBody>
          </p:sp>
        </p:grpSp>
        <p:pic>
          <p:nvPicPr>
            <p:cNvPr id="133" name="Picture 132" descr="Storage (Azur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157559" y="3514109"/>
              <a:ext cx="212809" cy="212809"/>
            </a:xfrm>
            <a:prstGeom prst="rect">
              <a:avLst/>
            </a:prstGeom>
          </p:spPr>
        </p:pic>
      </p:grpSp>
      <p:cxnSp>
        <p:nvCxnSpPr>
          <p:cNvPr id="131" name="Straight Connector 130"/>
          <p:cNvCxnSpPr/>
          <p:nvPr/>
        </p:nvCxnSpPr>
        <p:spPr>
          <a:xfrm>
            <a:off x="60688" y="2726654"/>
            <a:ext cx="5016078" cy="0"/>
          </a:xfrm>
          <a:prstGeom prst="line">
            <a:avLst/>
          </a:prstGeom>
          <a:ln w="19050">
            <a:solidFill>
              <a:srgbClr val="F2921F"/>
            </a:solidFill>
          </a:ln>
        </p:spPr>
        <p:style>
          <a:lnRef idx="1">
            <a:schemeClr val="accent1"/>
          </a:lnRef>
          <a:fillRef idx="0">
            <a:schemeClr val="accent1"/>
          </a:fillRef>
          <a:effectRef idx="0">
            <a:schemeClr val="accent1"/>
          </a:effectRef>
          <a:fontRef idx="minor">
            <a:schemeClr val="tx1"/>
          </a:fontRef>
        </p:style>
      </p:cxnSp>
      <p:grpSp>
        <p:nvGrpSpPr>
          <p:cNvPr id="157" name="Group 156"/>
          <p:cNvGrpSpPr/>
          <p:nvPr/>
        </p:nvGrpSpPr>
        <p:grpSpPr>
          <a:xfrm>
            <a:off x="5114740" y="2595430"/>
            <a:ext cx="5026822" cy="693500"/>
            <a:chOff x="5114345" y="5179359"/>
            <a:chExt cx="5028845" cy="693779"/>
          </a:xfrm>
        </p:grpSpPr>
        <p:sp>
          <p:nvSpPr>
            <p:cNvPr id="158" name="TextBox 157"/>
            <p:cNvSpPr txBox="1"/>
            <p:nvPr/>
          </p:nvSpPr>
          <p:spPr>
            <a:xfrm>
              <a:off x="5153974" y="5179359"/>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F3EA22"/>
                  </a:solidFill>
                  <a:latin typeface="Segoe UI Semibold" panose="020B0702040204020203" pitchFamily="34" charset="0"/>
                  <a:ea typeface="Arial Unicode MS" panose="020B0604020202020204" pitchFamily="34" charset="-128"/>
                  <a:cs typeface="Segoe UI Semibold" panose="020B0702040204020203" pitchFamily="34" charset="0"/>
                </a:rPr>
                <a:t>DATA</a:t>
              </a:r>
            </a:p>
          </p:txBody>
        </p:sp>
        <p:grpSp>
          <p:nvGrpSpPr>
            <p:cNvPr id="159" name="Group 158"/>
            <p:cNvGrpSpPr/>
            <p:nvPr/>
          </p:nvGrpSpPr>
          <p:grpSpPr>
            <a:xfrm>
              <a:off x="5114345" y="5339160"/>
              <a:ext cx="972361" cy="533978"/>
              <a:chOff x="3390744" y="3837998"/>
              <a:chExt cx="972361" cy="533978"/>
            </a:xfrm>
          </p:grpSpPr>
          <p:grpSp>
            <p:nvGrpSpPr>
              <p:cNvPr id="185" name="Group 184"/>
              <p:cNvGrpSpPr/>
              <p:nvPr/>
            </p:nvGrpSpPr>
            <p:grpSpPr>
              <a:xfrm>
                <a:off x="3390744" y="3837998"/>
                <a:ext cx="972361" cy="533978"/>
                <a:chOff x="42431" y="3837998"/>
                <a:chExt cx="972361" cy="533978"/>
              </a:xfrm>
            </p:grpSpPr>
            <p:sp>
              <p:nvSpPr>
                <p:cNvPr id="187" name="Rounded Rectangle 18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88" name="TextBox 18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sp>
              <p:nvSpPr>
                <p:cNvPr id="189" name="TextBox 18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naged relational database service with high availability and selectable performance levels. </a:t>
                  </a:r>
                </a:p>
              </p:txBody>
            </p:sp>
          </p:grpSp>
          <p:pic>
            <p:nvPicPr>
              <p:cNvPr id="186" name="Picture 185"/>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430983" y="3855134"/>
                <a:ext cx="227075" cy="227075"/>
              </a:xfrm>
              <a:prstGeom prst="rect">
                <a:avLst/>
              </a:prstGeom>
            </p:spPr>
          </p:pic>
        </p:grpSp>
        <p:grpSp>
          <p:nvGrpSpPr>
            <p:cNvPr id="160" name="Group 159"/>
            <p:cNvGrpSpPr/>
            <p:nvPr/>
          </p:nvGrpSpPr>
          <p:grpSpPr>
            <a:xfrm>
              <a:off x="6125398" y="5339160"/>
              <a:ext cx="972361" cy="533978"/>
              <a:chOff x="3390744" y="4450247"/>
              <a:chExt cx="972361" cy="533978"/>
            </a:xfrm>
          </p:grpSpPr>
          <p:grpSp>
            <p:nvGrpSpPr>
              <p:cNvPr id="180" name="Group 179"/>
              <p:cNvGrpSpPr/>
              <p:nvPr/>
            </p:nvGrpSpPr>
            <p:grpSpPr>
              <a:xfrm>
                <a:off x="3390744" y="4450247"/>
                <a:ext cx="972361" cy="533978"/>
                <a:chOff x="42431" y="3837998"/>
                <a:chExt cx="972361" cy="533978"/>
              </a:xfrm>
            </p:grpSpPr>
            <p:sp>
              <p:nvSpPr>
                <p:cNvPr id="182" name="Rounded Rectangle 181"/>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83" name="TextBox 182"/>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184" name="TextBox 183"/>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Store/retrieve millions of JSON objects from a highly scalable NoSQL document database.</a:t>
                  </a:r>
                </a:p>
              </p:txBody>
            </p:sp>
          </p:grpSp>
          <p:pic>
            <p:nvPicPr>
              <p:cNvPr id="181" name="Picture 180"/>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424168" y="4466490"/>
                <a:ext cx="214879" cy="214879"/>
              </a:xfrm>
              <a:prstGeom prst="rect">
                <a:avLst/>
              </a:prstGeom>
            </p:spPr>
          </p:pic>
        </p:grpSp>
        <p:grpSp>
          <p:nvGrpSpPr>
            <p:cNvPr id="161" name="Group 160"/>
            <p:cNvGrpSpPr/>
            <p:nvPr/>
          </p:nvGrpSpPr>
          <p:grpSpPr>
            <a:xfrm>
              <a:off x="7133827" y="5339160"/>
              <a:ext cx="972361" cy="533978"/>
              <a:chOff x="3390744" y="5053986"/>
              <a:chExt cx="972361" cy="533978"/>
            </a:xfrm>
          </p:grpSpPr>
          <p:grpSp>
            <p:nvGrpSpPr>
              <p:cNvPr id="175" name="Group 174"/>
              <p:cNvGrpSpPr/>
              <p:nvPr/>
            </p:nvGrpSpPr>
            <p:grpSpPr>
              <a:xfrm>
                <a:off x="3390744" y="5053986"/>
                <a:ext cx="972361" cy="533978"/>
                <a:chOff x="42431" y="3837998"/>
                <a:chExt cx="972361" cy="533978"/>
              </a:xfrm>
            </p:grpSpPr>
            <p:sp>
              <p:nvSpPr>
                <p:cNvPr id="177" name="Rounded Rectangle 17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78" name="TextBox 17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sp>
              <p:nvSpPr>
                <p:cNvPr id="179" name="TextBox 17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ke applications scale and be more responsive under load by keeping data closer to app logic.</a:t>
                  </a:r>
                </a:p>
              </p:txBody>
            </p:sp>
          </p:grpSp>
          <p:pic>
            <p:nvPicPr>
              <p:cNvPr id="176" name="Picture 175"/>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426253" y="5076213"/>
                <a:ext cx="204668" cy="204668"/>
              </a:xfrm>
              <a:prstGeom prst="rect">
                <a:avLst/>
              </a:prstGeom>
            </p:spPr>
          </p:pic>
        </p:grpSp>
        <p:grpSp>
          <p:nvGrpSpPr>
            <p:cNvPr id="162" name="Group 161"/>
            <p:cNvGrpSpPr/>
            <p:nvPr/>
          </p:nvGrpSpPr>
          <p:grpSpPr>
            <a:xfrm>
              <a:off x="8148445" y="5339160"/>
              <a:ext cx="972361" cy="533978"/>
              <a:chOff x="3390744" y="5664017"/>
              <a:chExt cx="972361" cy="533978"/>
            </a:xfrm>
          </p:grpSpPr>
          <p:grpSp>
            <p:nvGrpSpPr>
              <p:cNvPr id="170" name="Group 169"/>
              <p:cNvGrpSpPr/>
              <p:nvPr/>
            </p:nvGrpSpPr>
            <p:grpSpPr>
              <a:xfrm>
                <a:off x="3390744" y="5664017"/>
                <a:ext cx="972361" cy="533978"/>
                <a:chOff x="42431" y="3837998"/>
                <a:chExt cx="972361" cy="533978"/>
              </a:xfrm>
            </p:grpSpPr>
            <p:sp>
              <p:nvSpPr>
                <p:cNvPr id="172" name="Rounded Rectangle 171"/>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73" name="TextBox 172"/>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174" name="TextBox 173"/>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naged, scalable search service for your apps, create tunable search results and ranking models.</a:t>
                  </a:r>
                </a:p>
              </p:txBody>
            </p:sp>
          </p:grpSp>
          <p:pic>
            <p:nvPicPr>
              <p:cNvPr id="171" name="Picture 170"/>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3417951" y="5676671"/>
                <a:ext cx="241411" cy="241411"/>
              </a:xfrm>
              <a:prstGeom prst="rect">
                <a:avLst/>
              </a:prstGeom>
            </p:spPr>
          </p:pic>
        </p:grpSp>
        <p:grpSp>
          <p:nvGrpSpPr>
            <p:cNvPr id="163" name="Group 162"/>
            <p:cNvGrpSpPr/>
            <p:nvPr/>
          </p:nvGrpSpPr>
          <p:grpSpPr>
            <a:xfrm>
              <a:off x="9162358" y="5339160"/>
              <a:ext cx="972361" cy="533978"/>
              <a:chOff x="9162358" y="5339160"/>
              <a:chExt cx="972361" cy="533978"/>
            </a:xfrm>
          </p:grpSpPr>
          <p:grpSp>
            <p:nvGrpSpPr>
              <p:cNvPr id="165" name="Group 164"/>
              <p:cNvGrpSpPr/>
              <p:nvPr/>
            </p:nvGrpSpPr>
            <p:grpSpPr>
              <a:xfrm>
                <a:off x="9162358" y="5339160"/>
                <a:ext cx="972361" cy="533978"/>
                <a:chOff x="42431" y="3837998"/>
                <a:chExt cx="972361" cy="533978"/>
              </a:xfrm>
            </p:grpSpPr>
            <p:sp>
              <p:nvSpPr>
                <p:cNvPr id="167" name="Rounded Rectangle 16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168" name="TextBox 16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sp>
              <p:nvSpPr>
                <p:cNvPr id="169" name="TextBox 16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assive scale for semi-structured key/value type data in this schema-less  NoSQL store.</a:t>
                  </a:r>
                </a:p>
              </p:txBody>
            </p:sp>
          </p:grpSp>
          <p:pic>
            <p:nvPicPr>
              <p:cNvPr id="166" name="Picture 165" descr="Storage tab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24576" y="5358866"/>
                <a:ext cx="218284" cy="218284"/>
              </a:xfrm>
              <a:prstGeom prst="rect">
                <a:avLst/>
              </a:prstGeom>
            </p:spPr>
          </p:pic>
        </p:grpSp>
        <p:cxnSp>
          <p:nvCxnSpPr>
            <p:cNvPr id="164" name="Straight Connector 163"/>
            <p:cNvCxnSpPr/>
            <p:nvPr/>
          </p:nvCxnSpPr>
          <p:spPr>
            <a:xfrm>
              <a:off x="5141968" y="5310637"/>
              <a:ext cx="5001222" cy="0"/>
            </a:xfrm>
            <a:prstGeom prst="line">
              <a:avLst/>
            </a:prstGeom>
            <a:ln w="19050">
              <a:solidFill>
                <a:srgbClr val="F3EA22"/>
              </a:solidFill>
            </a:ln>
          </p:spPr>
          <p:style>
            <a:lnRef idx="1">
              <a:schemeClr val="accent1"/>
            </a:lnRef>
            <a:fillRef idx="0">
              <a:schemeClr val="accent1"/>
            </a:fillRef>
            <a:effectRef idx="0">
              <a:schemeClr val="accent1"/>
            </a:effectRef>
            <a:fontRef idx="minor">
              <a:schemeClr val="tx1"/>
            </a:fontRef>
          </p:style>
        </p:cxnSp>
      </p:grpSp>
      <p:grpSp>
        <p:nvGrpSpPr>
          <p:cNvPr id="190" name="Group 189"/>
          <p:cNvGrpSpPr/>
          <p:nvPr/>
        </p:nvGrpSpPr>
        <p:grpSpPr>
          <a:xfrm>
            <a:off x="6112800" y="1837058"/>
            <a:ext cx="6041078" cy="678050"/>
            <a:chOff x="6112806" y="4420682"/>
            <a:chExt cx="6043509" cy="678323"/>
          </a:xfrm>
        </p:grpSpPr>
        <p:sp>
          <p:nvSpPr>
            <p:cNvPr id="191" name="TextBox 190"/>
            <p:cNvSpPr txBox="1"/>
            <p:nvPr/>
          </p:nvSpPr>
          <p:spPr>
            <a:xfrm>
              <a:off x="6121880" y="4420682"/>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C3E32D"/>
                  </a:solidFill>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grpSp>
          <p:nvGrpSpPr>
            <p:cNvPr id="192" name="Group 191"/>
            <p:cNvGrpSpPr/>
            <p:nvPr/>
          </p:nvGrpSpPr>
          <p:grpSpPr>
            <a:xfrm>
              <a:off x="6112806" y="4564888"/>
              <a:ext cx="972361" cy="533978"/>
              <a:chOff x="4486339" y="3837998"/>
              <a:chExt cx="972361" cy="533978"/>
            </a:xfrm>
          </p:grpSpPr>
          <p:grpSp>
            <p:nvGrpSpPr>
              <p:cNvPr id="224" name="Group 223"/>
              <p:cNvGrpSpPr/>
              <p:nvPr/>
            </p:nvGrpSpPr>
            <p:grpSpPr>
              <a:xfrm>
                <a:off x="4486339" y="3837998"/>
                <a:ext cx="972361" cy="533978"/>
                <a:chOff x="42431" y="3837998"/>
                <a:chExt cx="972361" cy="533978"/>
              </a:xfrm>
            </p:grpSpPr>
            <p:sp>
              <p:nvSpPr>
                <p:cNvPr id="226" name="Rounded Rectangle 225"/>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27" name="TextBox 226"/>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228" name="TextBox 227"/>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Big Data (based on Apache Hadoop) analytics that integrate easily with Microsoft Office.</a:t>
                  </a:r>
                </a:p>
              </p:txBody>
            </p:sp>
          </p:grpSp>
          <p:pic>
            <p:nvPicPr>
              <p:cNvPr id="225" name="Picture 22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4511651" y="3841971"/>
                <a:ext cx="245952" cy="245952"/>
              </a:xfrm>
              <a:prstGeom prst="rect">
                <a:avLst/>
              </a:prstGeom>
            </p:spPr>
          </p:pic>
        </p:grpSp>
        <p:grpSp>
          <p:nvGrpSpPr>
            <p:cNvPr id="193" name="Group 192"/>
            <p:cNvGrpSpPr/>
            <p:nvPr/>
          </p:nvGrpSpPr>
          <p:grpSpPr>
            <a:xfrm>
              <a:off x="7133992" y="4564897"/>
              <a:ext cx="972361" cy="533978"/>
              <a:chOff x="4486339" y="4446671"/>
              <a:chExt cx="972361" cy="533978"/>
            </a:xfrm>
          </p:grpSpPr>
          <p:grpSp>
            <p:nvGrpSpPr>
              <p:cNvPr id="219" name="Group 218"/>
              <p:cNvGrpSpPr/>
              <p:nvPr/>
            </p:nvGrpSpPr>
            <p:grpSpPr>
              <a:xfrm>
                <a:off x="4486339" y="4446671"/>
                <a:ext cx="972361" cy="533978"/>
                <a:chOff x="42431" y="3837998"/>
                <a:chExt cx="972361" cy="533978"/>
              </a:xfrm>
            </p:grpSpPr>
            <p:sp>
              <p:nvSpPr>
                <p:cNvPr id="221" name="Rounded Rectangle 22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22" name="TextBox 22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sp>
              <p:nvSpPr>
                <p:cNvPr id="223" name="TextBox 22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ine historical data with compute power to predict future trends or behavior.</a:t>
                  </a:r>
                </a:p>
              </p:txBody>
            </p:sp>
          </p:grpSp>
          <p:pic>
            <p:nvPicPr>
              <p:cNvPr id="220" name="Picture 219"/>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4539812" y="4469433"/>
                <a:ext cx="201839" cy="201839"/>
              </a:xfrm>
              <a:prstGeom prst="rect">
                <a:avLst/>
              </a:prstGeom>
            </p:spPr>
          </p:pic>
        </p:grpSp>
        <p:grpSp>
          <p:nvGrpSpPr>
            <p:cNvPr id="194" name="Group 193"/>
            <p:cNvGrpSpPr/>
            <p:nvPr/>
          </p:nvGrpSpPr>
          <p:grpSpPr>
            <a:xfrm>
              <a:off x="8147962" y="4558141"/>
              <a:ext cx="972361" cy="538787"/>
              <a:chOff x="6112806" y="5841670"/>
              <a:chExt cx="972361" cy="538787"/>
            </a:xfrm>
          </p:grpSpPr>
          <p:grpSp>
            <p:nvGrpSpPr>
              <p:cNvPr id="214" name="Group 213"/>
              <p:cNvGrpSpPr/>
              <p:nvPr/>
            </p:nvGrpSpPr>
            <p:grpSpPr>
              <a:xfrm>
                <a:off x="6112806" y="5846479"/>
                <a:ext cx="972361" cy="533978"/>
                <a:chOff x="42431" y="3837998"/>
                <a:chExt cx="972361" cy="533978"/>
              </a:xfrm>
            </p:grpSpPr>
            <p:sp>
              <p:nvSpPr>
                <p:cNvPr id="216" name="Rounded Rectangle 215"/>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17" name="TextBox 216"/>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sp>
              <p:nvSpPr>
                <p:cNvPr id="218" name="TextBox 217"/>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Process data streams in real-time to discover and react to trends. </a:t>
                  </a:r>
                </a:p>
              </p:txBody>
            </p:sp>
          </p:grpSp>
          <p:pic>
            <p:nvPicPr>
              <p:cNvPr id="215" name="Picture 214"/>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6140509" y="5841670"/>
                <a:ext cx="243754" cy="243754"/>
              </a:xfrm>
              <a:prstGeom prst="rect">
                <a:avLst/>
              </a:prstGeom>
            </p:spPr>
          </p:pic>
        </p:grpSp>
        <p:grpSp>
          <p:nvGrpSpPr>
            <p:cNvPr id="195" name="Group 194"/>
            <p:cNvGrpSpPr/>
            <p:nvPr/>
          </p:nvGrpSpPr>
          <p:grpSpPr>
            <a:xfrm>
              <a:off x="9157682" y="4563862"/>
              <a:ext cx="972361" cy="533978"/>
              <a:chOff x="6112806" y="6456511"/>
              <a:chExt cx="972361" cy="533978"/>
            </a:xfrm>
          </p:grpSpPr>
          <p:grpSp>
            <p:nvGrpSpPr>
              <p:cNvPr id="209" name="Group 208"/>
              <p:cNvGrpSpPr/>
              <p:nvPr/>
            </p:nvGrpSpPr>
            <p:grpSpPr>
              <a:xfrm>
                <a:off x="6112806" y="6456511"/>
                <a:ext cx="972361" cy="533978"/>
                <a:chOff x="42431" y="3837998"/>
                <a:chExt cx="972361" cy="533978"/>
              </a:xfrm>
            </p:grpSpPr>
            <p:sp>
              <p:nvSpPr>
                <p:cNvPr id="211" name="Rounded Rectangle 21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12" name="TextBox 21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sp>
              <p:nvSpPr>
                <p:cNvPr id="213" name="TextBox 21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ngest data from multiple sources to combine into a cloud based Data Warehouse.</a:t>
                  </a:r>
                </a:p>
              </p:txBody>
            </p:sp>
          </p:grpSp>
          <p:pic>
            <p:nvPicPr>
              <p:cNvPr id="210" name="Picture 209"/>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166631" y="6472176"/>
                <a:ext cx="185210" cy="185210"/>
              </a:xfrm>
              <a:prstGeom prst="rect">
                <a:avLst/>
              </a:prstGeom>
            </p:spPr>
          </p:pic>
        </p:grpSp>
        <p:grpSp>
          <p:nvGrpSpPr>
            <p:cNvPr id="196" name="Group 195"/>
            <p:cNvGrpSpPr/>
            <p:nvPr/>
          </p:nvGrpSpPr>
          <p:grpSpPr>
            <a:xfrm>
              <a:off x="10172132" y="4564888"/>
              <a:ext cx="972361" cy="533978"/>
              <a:chOff x="6112806" y="7065185"/>
              <a:chExt cx="972361" cy="533978"/>
            </a:xfrm>
          </p:grpSpPr>
          <p:grpSp>
            <p:nvGrpSpPr>
              <p:cNvPr id="204" name="Group 203"/>
              <p:cNvGrpSpPr/>
              <p:nvPr/>
            </p:nvGrpSpPr>
            <p:grpSpPr>
              <a:xfrm>
                <a:off x="6112806" y="7065185"/>
                <a:ext cx="972361" cy="533978"/>
                <a:chOff x="42431" y="3837998"/>
                <a:chExt cx="972361" cy="533978"/>
              </a:xfrm>
            </p:grpSpPr>
            <p:sp>
              <p:nvSpPr>
                <p:cNvPr id="206" name="Rounded Rectangle 205"/>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07" name="TextBox 206"/>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sp>
              <p:nvSpPr>
                <p:cNvPr id="208" name="TextBox 207"/>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ngest, persist, process millions of events per second from millions of devices.</a:t>
                  </a:r>
                </a:p>
              </p:txBody>
            </p:sp>
          </p:grpSp>
          <p:pic>
            <p:nvPicPr>
              <p:cNvPr id="205" name="Picture 204"/>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70137" y="7085183"/>
                <a:ext cx="196379" cy="196379"/>
              </a:xfrm>
              <a:prstGeom prst="rect">
                <a:avLst/>
              </a:prstGeom>
            </p:spPr>
          </p:pic>
        </p:grpSp>
        <p:grpSp>
          <p:nvGrpSpPr>
            <p:cNvPr id="197" name="Group 196"/>
            <p:cNvGrpSpPr/>
            <p:nvPr/>
          </p:nvGrpSpPr>
          <p:grpSpPr>
            <a:xfrm>
              <a:off x="11183954" y="4565027"/>
              <a:ext cx="972361" cy="533978"/>
              <a:chOff x="5279761" y="6245277"/>
              <a:chExt cx="972361" cy="533978"/>
            </a:xfrm>
          </p:grpSpPr>
          <p:grpSp>
            <p:nvGrpSpPr>
              <p:cNvPr id="199" name="Group 198"/>
              <p:cNvGrpSpPr/>
              <p:nvPr/>
            </p:nvGrpSpPr>
            <p:grpSpPr>
              <a:xfrm>
                <a:off x="5279761" y="6245277"/>
                <a:ext cx="972361" cy="533978"/>
                <a:chOff x="42431" y="3837998"/>
                <a:chExt cx="972361" cy="533978"/>
              </a:xfrm>
            </p:grpSpPr>
            <p:sp>
              <p:nvSpPr>
                <p:cNvPr id="201" name="Rounded Rectangle 20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02" name="TextBox 201"/>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ngest, persist, process millions of events per second from millions of devices.</a:t>
                  </a:r>
                </a:p>
              </p:txBody>
            </p:sp>
            <p:sp>
              <p:nvSpPr>
                <p:cNvPr id="203" name="TextBox 202"/>
                <p:cNvSpPr txBox="1"/>
                <p:nvPr/>
              </p:nvSpPr>
              <p:spPr>
                <a:xfrm>
                  <a:off x="368334" y="3837998"/>
                  <a:ext cx="646458" cy="253479"/>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grpSp>
          <p:pic>
            <p:nvPicPr>
              <p:cNvPr id="200" name="Picture 199"/>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5330871" y="6267298"/>
                <a:ext cx="213475" cy="213475"/>
              </a:xfrm>
              <a:prstGeom prst="rect">
                <a:avLst/>
              </a:prstGeom>
            </p:spPr>
          </p:pic>
        </p:grpSp>
        <p:cxnSp>
          <p:nvCxnSpPr>
            <p:cNvPr id="198" name="Straight Connector 197"/>
            <p:cNvCxnSpPr/>
            <p:nvPr/>
          </p:nvCxnSpPr>
          <p:spPr>
            <a:xfrm>
              <a:off x="6121880" y="4541630"/>
              <a:ext cx="6023637" cy="0"/>
            </a:xfrm>
            <a:prstGeom prst="line">
              <a:avLst/>
            </a:prstGeom>
            <a:ln w="19050">
              <a:solidFill>
                <a:srgbClr val="C3E32D"/>
              </a:solidFill>
            </a:ln>
          </p:spPr>
          <p:style>
            <a:lnRef idx="1">
              <a:schemeClr val="accent1"/>
            </a:lnRef>
            <a:fillRef idx="0">
              <a:schemeClr val="accent1"/>
            </a:fillRef>
            <a:effectRef idx="0">
              <a:schemeClr val="accent1"/>
            </a:effectRef>
            <a:fontRef idx="minor">
              <a:schemeClr val="tx1"/>
            </a:fontRef>
          </p:style>
        </p:cxnSp>
      </p:grpSp>
      <p:grpSp>
        <p:nvGrpSpPr>
          <p:cNvPr id="229" name="Group 228"/>
          <p:cNvGrpSpPr/>
          <p:nvPr/>
        </p:nvGrpSpPr>
        <p:grpSpPr>
          <a:xfrm>
            <a:off x="10166498" y="2591329"/>
            <a:ext cx="1984927" cy="697599"/>
            <a:chOff x="10168135" y="5175257"/>
            <a:chExt cx="1985726" cy="697880"/>
          </a:xfrm>
        </p:grpSpPr>
        <p:sp>
          <p:nvSpPr>
            <p:cNvPr id="230" name="TextBox 229"/>
            <p:cNvSpPr txBox="1"/>
            <p:nvPr/>
          </p:nvSpPr>
          <p:spPr>
            <a:xfrm>
              <a:off x="10170190" y="5175257"/>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DEVELOPER SERVICES</a:t>
              </a:r>
            </a:p>
          </p:txBody>
        </p:sp>
        <p:grpSp>
          <p:nvGrpSpPr>
            <p:cNvPr id="231" name="Group 230"/>
            <p:cNvGrpSpPr/>
            <p:nvPr/>
          </p:nvGrpSpPr>
          <p:grpSpPr>
            <a:xfrm>
              <a:off x="10171803" y="5339159"/>
              <a:ext cx="972361" cy="533978"/>
              <a:chOff x="10214321" y="5316315"/>
              <a:chExt cx="972361" cy="533978"/>
            </a:xfrm>
          </p:grpSpPr>
          <p:grpSp>
            <p:nvGrpSpPr>
              <p:cNvPr id="239" name="Group 238"/>
              <p:cNvGrpSpPr/>
              <p:nvPr/>
            </p:nvGrpSpPr>
            <p:grpSpPr>
              <a:xfrm>
                <a:off x="10214321" y="5316315"/>
                <a:ext cx="972361" cy="533978"/>
                <a:chOff x="42431" y="3837998"/>
                <a:chExt cx="972361" cy="533978"/>
              </a:xfrm>
            </p:grpSpPr>
            <p:sp>
              <p:nvSpPr>
                <p:cNvPr id="241" name="Rounded Rectangle 24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42" name="TextBox 24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nline</a:t>
                  </a:r>
                </a:p>
              </p:txBody>
            </p:sp>
            <p:sp>
              <p:nvSpPr>
                <p:cNvPr id="243" name="TextBox 24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Store code, plan and track projects, build, deploy and test apps in the cloud collaboratively.</a:t>
                  </a:r>
                </a:p>
              </p:txBody>
            </p:sp>
          </p:grpSp>
          <p:pic>
            <p:nvPicPr>
              <p:cNvPr id="240" name="Picture 239" descr="Visual Studio Onlin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10292465" y="5343122"/>
                <a:ext cx="195467" cy="195467"/>
              </a:xfrm>
              <a:prstGeom prst="rect">
                <a:avLst/>
              </a:prstGeom>
            </p:spPr>
          </p:pic>
        </p:grpSp>
        <p:grpSp>
          <p:nvGrpSpPr>
            <p:cNvPr id="232" name="Group 231"/>
            <p:cNvGrpSpPr/>
            <p:nvPr/>
          </p:nvGrpSpPr>
          <p:grpSpPr>
            <a:xfrm>
              <a:off x="11179499" y="5335456"/>
              <a:ext cx="972361" cy="533978"/>
              <a:chOff x="-3850038" y="4627000"/>
              <a:chExt cx="972361" cy="533978"/>
            </a:xfrm>
          </p:grpSpPr>
          <p:grpSp>
            <p:nvGrpSpPr>
              <p:cNvPr id="234" name="Group 233"/>
              <p:cNvGrpSpPr/>
              <p:nvPr/>
            </p:nvGrpSpPr>
            <p:grpSpPr>
              <a:xfrm>
                <a:off x="-3850038" y="4627000"/>
                <a:ext cx="972361" cy="533978"/>
                <a:chOff x="42431" y="3837998"/>
                <a:chExt cx="972361" cy="533978"/>
              </a:xfrm>
            </p:grpSpPr>
            <p:sp>
              <p:nvSpPr>
                <p:cNvPr id="236" name="Rounded Rectangle 235"/>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37" name="TextBox 236"/>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sp>
              <p:nvSpPr>
                <p:cNvPr id="238" name="TextBox 237"/>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Analyze app usage, availability and performance to detect issues and solve problems proactively.</a:t>
                  </a:r>
                </a:p>
              </p:txBody>
            </p:sp>
          </p:grpSp>
          <p:pic>
            <p:nvPicPr>
              <p:cNvPr id="235" name="Picture 234" descr="Application Insights.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3833315" y="4646408"/>
                <a:ext cx="203954" cy="203954"/>
              </a:xfrm>
              <a:prstGeom prst="rect">
                <a:avLst/>
              </a:prstGeom>
            </p:spPr>
          </p:pic>
        </p:grpSp>
        <p:cxnSp>
          <p:nvCxnSpPr>
            <p:cNvPr id="233" name="Straight Connector 232"/>
            <p:cNvCxnSpPr/>
            <p:nvPr/>
          </p:nvCxnSpPr>
          <p:spPr>
            <a:xfrm>
              <a:off x="10168135" y="5310637"/>
              <a:ext cx="1985726" cy="0"/>
            </a:xfrm>
            <a:prstGeom prst="line">
              <a:avLst/>
            </a:prstGeom>
            <a:ln w="19050">
              <a:solidFill>
                <a:srgbClr val="FFFF16"/>
              </a:solidFill>
            </a:ln>
          </p:spPr>
          <p:style>
            <a:lnRef idx="1">
              <a:schemeClr val="accent1"/>
            </a:lnRef>
            <a:fillRef idx="0">
              <a:schemeClr val="accent1"/>
            </a:fillRef>
            <a:effectRef idx="0">
              <a:schemeClr val="accent1"/>
            </a:effectRef>
            <a:fontRef idx="minor">
              <a:schemeClr val="tx1"/>
            </a:fontRef>
          </p:style>
        </p:cxnSp>
      </p:grpSp>
      <p:sp>
        <p:nvSpPr>
          <p:cNvPr id="245" name="TextBox 244"/>
          <p:cNvSpPr txBox="1"/>
          <p:nvPr/>
        </p:nvSpPr>
        <p:spPr>
          <a:xfrm>
            <a:off x="4106250" y="3336908"/>
            <a:ext cx="965915" cy="209726"/>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25CCFD"/>
                </a:solidFill>
                <a:latin typeface="Segoe UI Semibold" panose="020B0702040204020203" pitchFamily="34" charset="0"/>
                <a:ea typeface="Arial Unicode MS" panose="020B0604020202020204" pitchFamily="34" charset="-128"/>
                <a:cs typeface="Segoe UI Semibold" panose="020B0702040204020203" pitchFamily="34" charset="0"/>
              </a:rPr>
              <a:t>MANAGEMENT</a:t>
            </a:r>
          </a:p>
        </p:txBody>
      </p:sp>
      <p:grpSp>
        <p:nvGrpSpPr>
          <p:cNvPr id="246" name="Group 245"/>
          <p:cNvGrpSpPr/>
          <p:nvPr/>
        </p:nvGrpSpPr>
        <p:grpSpPr>
          <a:xfrm>
            <a:off x="4107774" y="3475843"/>
            <a:ext cx="971970" cy="533764"/>
            <a:chOff x="-2749284" y="4014314"/>
            <a:chExt cx="972361" cy="533978"/>
          </a:xfrm>
        </p:grpSpPr>
        <p:grpSp>
          <p:nvGrpSpPr>
            <p:cNvPr id="266" name="Group 265"/>
            <p:cNvGrpSpPr/>
            <p:nvPr/>
          </p:nvGrpSpPr>
          <p:grpSpPr>
            <a:xfrm>
              <a:off x="-2749284" y="4014314"/>
              <a:ext cx="972361" cy="533978"/>
              <a:chOff x="42431" y="3837998"/>
              <a:chExt cx="972361" cy="533978"/>
            </a:xfrm>
          </p:grpSpPr>
          <p:sp>
            <p:nvSpPr>
              <p:cNvPr id="268" name="Rounded Rectangle 26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69" name="TextBox 26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sp>
            <p:nvSpPr>
              <p:cNvPr id="270" name="TextBox 26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Run durable PowerShell scripts to automate frequent, long running, complex Azure tasks.</a:t>
                </a:r>
              </a:p>
            </p:txBody>
          </p:sp>
        </p:grpSp>
        <p:pic>
          <p:nvPicPr>
            <p:cNvPr id="267" name="Picture 266" descr="Azure automation.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2715114" y="4030206"/>
              <a:ext cx="191668" cy="191668"/>
            </a:xfrm>
            <a:prstGeom prst="rect">
              <a:avLst/>
            </a:prstGeom>
          </p:spPr>
        </p:pic>
      </p:grpSp>
      <p:grpSp>
        <p:nvGrpSpPr>
          <p:cNvPr id="247" name="Group 246"/>
          <p:cNvGrpSpPr/>
          <p:nvPr/>
        </p:nvGrpSpPr>
        <p:grpSpPr>
          <a:xfrm>
            <a:off x="5115385" y="3475843"/>
            <a:ext cx="971970" cy="533764"/>
            <a:chOff x="-2749284" y="4623617"/>
            <a:chExt cx="972361" cy="533978"/>
          </a:xfrm>
        </p:grpSpPr>
        <p:grpSp>
          <p:nvGrpSpPr>
            <p:cNvPr id="261" name="Group 260"/>
            <p:cNvGrpSpPr/>
            <p:nvPr/>
          </p:nvGrpSpPr>
          <p:grpSpPr>
            <a:xfrm>
              <a:off x="-2749284" y="4623617"/>
              <a:ext cx="972361" cy="533978"/>
              <a:chOff x="42431" y="3837998"/>
              <a:chExt cx="972361" cy="533978"/>
            </a:xfrm>
          </p:grpSpPr>
          <p:sp>
            <p:nvSpPr>
              <p:cNvPr id="263" name="Rounded Rectangle 26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64" name="TextBox 26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sp>
            <p:nvSpPr>
              <p:cNvPr id="265" name="TextBox 26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Web based experience to provision, control and monitor all Azure services.</a:t>
                </a:r>
              </a:p>
            </p:txBody>
          </p:sp>
        </p:grpSp>
        <p:pic>
          <p:nvPicPr>
            <p:cNvPr id="262" name="Picture 261" descr="Azure subscription.png"/>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2706215" y="4633204"/>
              <a:ext cx="201865" cy="201865"/>
            </a:xfrm>
            <a:prstGeom prst="rect">
              <a:avLst/>
            </a:prstGeom>
          </p:spPr>
        </p:pic>
      </p:grpSp>
      <p:grpSp>
        <p:nvGrpSpPr>
          <p:cNvPr id="248" name="Group 247"/>
          <p:cNvGrpSpPr/>
          <p:nvPr/>
        </p:nvGrpSpPr>
        <p:grpSpPr>
          <a:xfrm>
            <a:off x="7132196" y="3475843"/>
            <a:ext cx="971970" cy="533764"/>
            <a:chOff x="-2749284" y="5840395"/>
            <a:chExt cx="972361" cy="533978"/>
          </a:xfrm>
        </p:grpSpPr>
        <p:grpSp>
          <p:nvGrpSpPr>
            <p:cNvPr id="256" name="Group 255"/>
            <p:cNvGrpSpPr/>
            <p:nvPr/>
          </p:nvGrpSpPr>
          <p:grpSpPr>
            <a:xfrm>
              <a:off x="-2749284" y="5840395"/>
              <a:ext cx="972361" cy="533978"/>
              <a:chOff x="42431" y="3837998"/>
              <a:chExt cx="972361" cy="533978"/>
            </a:xfrm>
          </p:grpSpPr>
          <p:sp>
            <p:nvSpPr>
              <p:cNvPr id="258" name="Rounded Rectangle 25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59" name="TextBox 25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sp>
            <p:nvSpPr>
              <p:cNvPr id="260" name="TextBox 25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Analyze and troubleshoot on-premises IT infrastructure without using instrumented code.</a:t>
                </a:r>
              </a:p>
            </p:txBody>
          </p:sp>
        </p:grpSp>
        <p:pic>
          <p:nvPicPr>
            <p:cNvPr id="257" name="Picture 256" descr="Operational Insights.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2706916" y="5859005"/>
              <a:ext cx="212835" cy="212835"/>
            </a:xfrm>
            <a:prstGeom prst="rect">
              <a:avLst/>
            </a:prstGeom>
          </p:spPr>
        </p:pic>
      </p:grpSp>
      <p:grpSp>
        <p:nvGrpSpPr>
          <p:cNvPr id="249" name="Group 248"/>
          <p:cNvGrpSpPr/>
          <p:nvPr/>
        </p:nvGrpSpPr>
        <p:grpSpPr>
          <a:xfrm>
            <a:off x="6126006" y="3475843"/>
            <a:ext cx="971970" cy="533764"/>
            <a:chOff x="-2749284" y="6449637"/>
            <a:chExt cx="972361" cy="533978"/>
          </a:xfrm>
        </p:grpSpPr>
        <p:grpSp>
          <p:nvGrpSpPr>
            <p:cNvPr id="251" name="Group 250"/>
            <p:cNvGrpSpPr/>
            <p:nvPr/>
          </p:nvGrpSpPr>
          <p:grpSpPr>
            <a:xfrm>
              <a:off x="-2749284" y="6449637"/>
              <a:ext cx="972361" cy="533978"/>
              <a:chOff x="42431" y="3837998"/>
              <a:chExt cx="972361" cy="533978"/>
            </a:xfrm>
          </p:grpSpPr>
          <p:sp>
            <p:nvSpPr>
              <p:cNvPr id="253" name="Rounded Rectangle 25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54" name="TextBox 253"/>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ault</a:t>
                </a:r>
              </a:p>
            </p:txBody>
          </p:sp>
          <p:sp>
            <p:nvSpPr>
              <p:cNvPr id="255" name="TextBox 254"/>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Safeguard and control keys and secrets in cloud scale hardware security modules.</a:t>
                </a:r>
              </a:p>
            </p:txBody>
          </p:sp>
        </p:grpSp>
        <p:pic>
          <p:nvPicPr>
            <p:cNvPr id="252" name="Picture 251" descr="AzureKeyVault_icon_white.png"/>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2710511" y="6473390"/>
              <a:ext cx="191161" cy="212401"/>
            </a:xfrm>
            <a:prstGeom prst="rect">
              <a:avLst/>
            </a:prstGeom>
          </p:spPr>
        </p:pic>
      </p:grpSp>
      <p:cxnSp>
        <p:nvCxnSpPr>
          <p:cNvPr id="250" name="Straight Connector 249"/>
          <p:cNvCxnSpPr/>
          <p:nvPr/>
        </p:nvCxnSpPr>
        <p:spPr>
          <a:xfrm>
            <a:off x="4104449" y="3467570"/>
            <a:ext cx="4003958" cy="0"/>
          </a:xfrm>
          <a:prstGeom prst="line">
            <a:avLst/>
          </a:prstGeom>
          <a:ln w="19050">
            <a:solidFill>
              <a:srgbClr val="25CCFD"/>
            </a:solidFill>
          </a:ln>
        </p:spPr>
        <p:style>
          <a:lnRef idx="1">
            <a:schemeClr val="accent1"/>
          </a:lnRef>
          <a:fillRef idx="0">
            <a:schemeClr val="accent1"/>
          </a:fillRef>
          <a:effectRef idx="0">
            <a:schemeClr val="accent1"/>
          </a:effectRef>
          <a:fontRef idx="minor">
            <a:schemeClr val="tx1"/>
          </a:fontRef>
        </p:style>
      </p:cxnSp>
      <p:grpSp>
        <p:nvGrpSpPr>
          <p:cNvPr id="271" name="Group 270"/>
          <p:cNvGrpSpPr/>
          <p:nvPr/>
        </p:nvGrpSpPr>
        <p:grpSpPr>
          <a:xfrm>
            <a:off x="52940" y="3353791"/>
            <a:ext cx="4018166" cy="655816"/>
            <a:chOff x="50507" y="5938025"/>
            <a:chExt cx="4019783" cy="656080"/>
          </a:xfrm>
        </p:grpSpPr>
        <p:sp>
          <p:nvSpPr>
            <p:cNvPr id="272" name="TextBox 271"/>
            <p:cNvSpPr txBox="1"/>
            <p:nvPr/>
          </p:nvSpPr>
          <p:spPr>
            <a:xfrm>
              <a:off x="67826" y="5938025"/>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HYBRID INTEGRATION</a:t>
              </a:r>
            </a:p>
          </p:txBody>
        </p:sp>
        <p:grpSp>
          <p:nvGrpSpPr>
            <p:cNvPr id="273" name="Group 272"/>
            <p:cNvGrpSpPr/>
            <p:nvPr/>
          </p:nvGrpSpPr>
          <p:grpSpPr>
            <a:xfrm>
              <a:off x="1071837" y="6060127"/>
              <a:ext cx="972361" cy="533978"/>
              <a:chOff x="-2902230" y="1357895"/>
              <a:chExt cx="972361" cy="533978"/>
            </a:xfrm>
          </p:grpSpPr>
          <p:grpSp>
            <p:nvGrpSpPr>
              <p:cNvPr id="293" name="Group 292"/>
              <p:cNvGrpSpPr/>
              <p:nvPr/>
            </p:nvGrpSpPr>
            <p:grpSpPr>
              <a:xfrm>
                <a:off x="-2902230" y="1357895"/>
                <a:ext cx="972361" cy="533978"/>
                <a:chOff x="42431" y="3837998"/>
                <a:chExt cx="972361" cy="533978"/>
              </a:xfrm>
            </p:grpSpPr>
            <p:sp>
              <p:nvSpPr>
                <p:cNvPr id="295" name="Rounded Rectangle 294"/>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96" name="TextBox 295"/>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sp>
              <p:nvSpPr>
                <p:cNvPr id="297" name="TextBox 296"/>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Build EDI and Enterprise App Integration (EAI) solutions in the cloud.</a:t>
                  </a:r>
                </a:p>
              </p:txBody>
            </p:sp>
          </p:grpSp>
          <p:pic>
            <p:nvPicPr>
              <p:cNvPr id="294" name="Picture 293" descr="BizTalk Services.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2867103" y="1376383"/>
                <a:ext cx="234757" cy="234757"/>
              </a:xfrm>
              <a:prstGeom prst="rect">
                <a:avLst/>
              </a:prstGeom>
            </p:spPr>
          </p:pic>
        </p:grpSp>
        <p:grpSp>
          <p:nvGrpSpPr>
            <p:cNvPr id="274" name="Group 273"/>
            <p:cNvGrpSpPr/>
            <p:nvPr/>
          </p:nvGrpSpPr>
          <p:grpSpPr>
            <a:xfrm>
              <a:off x="2085193" y="6060127"/>
              <a:ext cx="972361" cy="533978"/>
              <a:chOff x="-2902230" y="1961887"/>
              <a:chExt cx="972361" cy="533978"/>
            </a:xfrm>
          </p:grpSpPr>
          <p:grpSp>
            <p:nvGrpSpPr>
              <p:cNvPr id="288" name="Group 287"/>
              <p:cNvGrpSpPr/>
              <p:nvPr/>
            </p:nvGrpSpPr>
            <p:grpSpPr>
              <a:xfrm>
                <a:off x="-2902230" y="1961887"/>
                <a:ext cx="972361" cy="533978"/>
                <a:chOff x="42431" y="3837998"/>
                <a:chExt cx="972361" cy="533978"/>
              </a:xfrm>
            </p:grpSpPr>
            <p:sp>
              <p:nvSpPr>
                <p:cNvPr id="290" name="Rounded Rectangle 289"/>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91" name="TextBox 290"/>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sp>
              <p:nvSpPr>
                <p:cNvPr id="292" name="TextBox 291"/>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Connect apps in Azure with on-premises resources without a VPN or dedicated line.</a:t>
                  </a:r>
                </a:p>
              </p:txBody>
            </p:sp>
          </p:grpSp>
          <p:pic>
            <p:nvPicPr>
              <p:cNvPr id="289" name="Picture 288" descr="Hybrid Connections (BizTalk).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2857502" y="1975182"/>
                <a:ext cx="216531" cy="216531"/>
              </a:xfrm>
              <a:prstGeom prst="rect">
                <a:avLst/>
              </a:prstGeom>
            </p:spPr>
          </p:pic>
        </p:grpSp>
        <p:grpSp>
          <p:nvGrpSpPr>
            <p:cNvPr id="275" name="Group 274"/>
            <p:cNvGrpSpPr/>
            <p:nvPr/>
          </p:nvGrpSpPr>
          <p:grpSpPr>
            <a:xfrm>
              <a:off x="3097929" y="6060127"/>
              <a:ext cx="972361" cy="533978"/>
              <a:chOff x="-2902230" y="2574673"/>
              <a:chExt cx="972361" cy="533978"/>
            </a:xfrm>
          </p:grpSpPr>
          <p:grpSp>
            <p:nvGrpSpPr>
              <p:cNvPr id="283" name="Group 282"/>
              <p:cNvGrpSpPr/>
              <p:nvPr/>
            </p:nvGrpSpPr>
            <p:grpSpPr>
              <a:xfrm>
                <a:off x="-2902230" y="2574673"/>
                <a:ext cx="972361" cy="533978"/>
                <a:chOff x="42431" y="3837998"/>
                <a:chExt cx="972361" cy="533978"/>
              </a:xfrm>
            </p:grpSpPr>
            <p:sp>
              <p:nvSpPr>
                <p:cNvPr id="285" name="Rounded Rectangle 284"/>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86" name="TextBox 285"/>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sp>
              <p:nvSpPr>
                <p:cNvPr id="287" name="TextBox 286"/>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essaging capabilities (pub/sub, queues) and on-premises to cloud connectivity solution.</a:t>
                  </a:r>
                </a:p>
              </p:txBody>
            </p:sp>
          </p:grpSp>
          <p:pic>
            <p:nvPicPr>
              <p:cNvPr id="284" name="Picture 283" descr="Service Bu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2854304" y="2590184"/>
                <a:ext cx="213333" cy="213333"/>
              </a:xfrm>
              <a:prstGeom prst="rect">
                <a:avLst/>
              </a:prstGeom>
            </p:spPr>
          </p:pic>
        </p:grpSp>
        <p:grpSp>
          <p:nvGrpSpPr>
            <p:cNvPr id="276" name="Group 275"/>
            <p:cNvGrpSpPr/>
            <p:nvPr/>
          </p:nvGrpSpPr>
          <p:grpSpPr>
            <a:xfrm>
              <a:off x="50507" y="6060127"/>
              <a:ext cx="972361" cy="533978"/>
              <a:chOff x="-2902230" y="748592"/>
              <a:chExt cx="972361" cy="533978"/>
            </a:xfrm>
          </p:grpSpPr>
          <p:grpSp>
            <p:nvGrpSpPr>
              <p:cNvPr id="278" name="Group 277"/>
              <p:cNvGrpSpPr/>
              <p:nvPr/>
            </p:nvGrpSpPr>
            <p:grpSpPr>
              <a:xfrm>
                <a:off x="-2902230" y="748592"/>
                <a:ext cx="972361" cy="533978"/>
                <a:chOff x="42431" y="3837998"/>
                <a:chExt cx="972361" cy="533978"/>
              </a:xfrm>
            </p:grpSpPr>
            <p:sp>
              <p:nvSpPr>
                <p:cNvPr id="280" name="Rounded Rectangle 279"/>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281" name="TextBox 280"/>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sp>
              <p:nvSpPr>
                <p:cNvPr id="282" name="TextBox 281"/>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Simple message queue for application de-coupling architecture for scale out.  </a:t>
                  </a:r>
                </a:p>
              </p:txBody>
            </p:sp>
          </p:grpSp>
          <p:pic>
            <p:nvPicPr>
              <p:cNvPr id="279" name="Picture 278" descr="Storage queu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2847102" y="769483"/>
                <a:ext cx="206668" cy="206668"/>
              </a:xfrm>
              <a:prstGeom prst="rect">
                <a:avLst/>
              </a:prstGeom>
            </p:spPr>
          </p:pic>
        </p:grpSp>
        <p:cxnSp>
          <p:nvCxnSpPr>
            <p:cNvPr id="277" name="Straight Connector 276"/>
            <p:cNvCxnSpPr/>
            <p:nvPr/>
          </p:nvCxnSpPr>
          <p:spPr>
            <a:xfrm>
              <a:off x="58259" y="6051850"/>
              <a:ext cx="4007049" cy="0"/>
            </a:xfrm>
            <a:prstGeom prst="line">
              <a:avLst/>
            </a:prstGeom>
            <a:ln w="19050">
              <a:solidFill>
                <a:srgbClr val="C29882"/>
              </a:solidFill>
            </a:ln>
          </p:spPr>
          <p:style>
            <a:lnRef idx="1">
              <a:schemeClr val="accent1"/>
            </a:lnRef>
            <a:fillRef idx="0">
              <a:schemeClr val="accent1"/>
            </a:fillRef>
            <a:effectRef idx="0">
              <a:schemeClr val="accent1"/>
            </a:effectRef>
            <a:fontRef idx="minor">
              <a:schemeClr val="tx1"/>
            </a:fontRef>
          </p:style>
        </p:cxnSp>
      </p:grpSp>
      <p:grpSp>
        <p:nvGrpSpPr>
          <p:cNvPr id="298" name="Group 297"/>
          <p:cNvGrpSpPr/>
          <p:nvPr/>
        </p:nvGrpSpPr>
        <p:grpSpPr>
          <a:xfrm>
            <a:off x="8145848" y="3352092"/>
            <a:ext cx="1987200" cy="659104"/>
            <a:chOff x="8146671" y="5936325"/>
            <a:chExt cx="1987999" cy="659369"/>
          </a:xfrm>
        </p:grpSpPr>
        <p:grpSp>
          <p:nvGrpSpPr>
            <p:cNvPr id="299" name="Group 298"/>
            <p:cNvGrpSpPr/>
            <p:nvPr/>
          </p:nvGrpSpPr>
          <p:grpSpPr>
            <a:xfrm>
              <a:off x="8146671" y="6061716"/>
              <a:ext cx="972361" cy="533978"/>
              <a:chOff x="-2749284" y="5227608"/>
              <a:chExt cx="972361" cy="533978"/>
            </a:xfrm>
          </p:grpSpPr>
          <p:grpSp>
            <p:nvGrpSpPr>
              <p:cNvPr id="307" name="Group 306"/>
              <p:cNvGrpSpPr/>
              <p:nvPr/>
            </p:nvGrpSpPr>
            <p:grpSpPr>
              <a:xfrm>
                <a:off x="-2749284" y="5227608"/>
                <a:ext cx="972361" cy="533978"/>
                <a:chOff x="42431" y="3837998"/>
                <a:chExt cx="972361" cy="533978"/>
              </a:xfrm>
            </p:grpSpPr>
            <p:sp>
              <p:nvSpPr>
                <p:cNvPr id="309" name="Rounded Rectangle 308"/>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10" name="TextBox 309"/>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sp>
              <p:nvSpPr>
                <p:cNvPr id="311" name="TextBox 310"/>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Find and manage other services  provided by third parties.</a:t>
                  </a:r>
                </a:p>
              </p:txBody>
            </p:sp>
          </p:grpSp>
          <p:pic>
            <p:nvPicPr>
              <p:cNvPr id="308" name="Picture 307" descr="Azure Marketplace.png"/>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2705016" y="5249005"/>
                <a:ext cx="205666" cy="205666"/>
              </a:xfrm>
              <a:prstGeom prst="rect">
                <a:avLst/>
              </a:prstGeom>
            </p:spPr>
          </p:pic>
        </p:grpSp>
        <p:grpSp>
          <p:nvGrpSpPr>
            <p:cNvPr id="300" name="Group 299"/>
            <p:cNvGrpSpPr/>
            <p:nvPr/>
          </p:nvGrpSpPr>
          <p:grpSpPr>
            <a:xfrm>
              <a:off x="9162309" y="6060127"/>
              <a:ext cx="972361" cy="533978"/>
              <a:chOff x="42431" y="3837998"/>
              <a:chExt cx="972361" cy="533978"/>
            </a:xfrm>
          </p:grpSpPr>
          <p:sp>
            <p:nvSpPr>
              <p:cNvPr id="304" name="Rounded Rectangle 303"/>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05" name="TextBox 304"/>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Depot</a:t>
                </a:r>
              </a:p>
            </p:txBody>
          </p:sp>
          <p:sp>
            <p:nvSpPr>
              <p:cNvPr id="306" name="TextBox 305"/>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Find free open source VM images that you can download and run in Azure Virtual Machines.</a:t>
                </a:r>
              </a:p>
            </p:txBody>
          </p:sp>
        </p:grpSp>
        <p:pic>
          <p:nvPicPr>
            <p:cNvPr id="301" name="Picture 30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291345" y="6060127"/>
              <a:ext cx="172977" cy="172977"/>
            </a:xfrm>
            <a:prstGeom prst="rect">
              <a:avLst/>
            </a:prstGeom>
          </p:spPr>
        </p:pic>
        <p:cxnSp>
          <p:nvCxnSpPr>
            <p:cNvPr id="302" name="Straight Connector 301"/>
            <p:cNvCxnSpPr/>
            <p:nvPr/>
          </p:nvCxnSpPr>
          <p:spPr>
            <a:xfrm>
              <a:off x="8146671" y="6051850"/>
              <a:ext cx="1985726" cy="0"/>
            </a:xfrm>
            <a:prstGeom prst="line">
              <a:avLst/>
            </a:prstGeom>
            <a:ln w="19050">
              <a:solidFill>
                <a:srgbClr val="FFFF16"/>
              </a:solidFill>
            </a:ln>
          </p:spPr>
          <p:style>
            <a:lnRef idx="1">
              <a:schemeClr val="accent1"/>
            </a:lnRef>
            <a:fillRef idx="0">
              <a:schemeClr val="accent1"/>
            </a:fillRef>
            <a:effectRef idx="0">
              <a:schemeClr val="accent1"/>
            </a:effectRef>
            <a:fontRef idx="minor">
              <a:schemeClr val="tx1"/>
            </a:fontRef>
          </p:style>
        </p:cxnSp>
        <p:sp>
          <p:nvSpPr>
            <p:cNvPr id="303" name="TextBox 302"/>
            <p:cNvSpPr txBox="1"/>
            <p:nvPr/>
          </p:nvSpPr>
          <p:spPr>
            <a:xfrm>
              <a:off x="8147734" y="5936325"/>
              <a:ext cx="966304" cy="209810"/>
            </a:xfrm>
            <a:prstGeom prst="rect">
              <a:avLst/>
            </a:prstGeom>
            <a:noFill/>
          </p:spPr>
          <p:txBody>
            <a:bodyPr wrap="none" lIns="0" tIns="0" rIns="0" bIns="0" rtlCol="0">
              <a:noAutofit/>
            </a:bodyPr>
            <a:lstStyle/>
            <a:p>
              <a:pPr defTabSz="913950" eaLnBrk="0" fontAlgn="base" hangingPunct="0">
                <a:spcBef>
                  <a:spcPct val="0"/>
                </a:spcBef>
                <a:spcAft>
                  <a:spcPct val="0"/>
                </a:spcAft>
              </a:pPr>
              <a:r>
                <a:rPr lang="en-US" sz="700"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COMMERCE</a:t>
              </a:r>
            </a:p>
          </p:txBody>
        </p:sp>
      </p:grpSp>
      <p:grpSp>
        <p:nvGrpSpPr>
          <p:cNvPr id="608" name="Group 607"/>
          <p:cNvGrpSpPr/>
          <p:nvPr/>
        </p:nvGrpSpPr>
        <p:grpSpPr>
          <a:xfrm>
            <a:off x="5572077" y="4982035"/>
            <a:ext cx="4204037" cy="847111"/>
            <a:chOff x="132080" y="5153446"/>
            <a:chExt cx="4288337" cy="864097"/>
          </a:xfrm>
        </p:grpSpPr>
        <p:sp>
          <p:nvSpPr>
            <p:cNvPr id="312" name="Rectangle 311"/>
            <p:cNvSpPr/>
            <p:nvPr/>
          </p:nvSpPr>
          <p:spPr bwMode="auto">
            <a:xfrm>
              <a:off x="132080" y="5153446"/>
              <a:ext cx="4288337" cy="864097"/>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nl-NL"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3" name="TextBox 312"/>
            <p:cNvSpPr txBox="1"/>
            <p:nvPr/>
          </p:nvSpPr>
          <p:spPr>
            <a:xfrm>
              <a:off x="1802160" y="5179101"/>
              <a:ext cx="985284" cy="213931"/>
            </a:xfrm>
            <a:prstGeom prst="rect">
              <a:avLst/>
            </a:prstGeom>
            <a:noFill/>
          </p:spPr>
          <p:txBody>
            <a:bodyPr wrap="none" lIns="0" tIns="0" rIns="0" bIns="0" rtlCol="0">
              <a:noAutofit/>
            </a:bodyPr>
            <a:lstStyle/>
            <a:p>
              <a:pPr algn="ctr" defTabSz="913950" eaLnBrk="0" fontAlgn="base" hangingPunct="0">
                <a:spcBef>
                  <a:spcPct val="0"/>
                </a:spcBef>
                <a:spcAft>
                  <a:spcPct val="0"/>
                </a:spcAft>
              </a:pPr>
              <a:r>
                <a:rPr lang="en-US" sz="882"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Azure App Service</a:t>
              </a:r>
            </a:p>
          </p:txBody>
        </p:sp>
        <p:grpSp>
          <p:nvGrpSpPr>
            <p:cNvPr id="384" name="Group 383"/>
            <p:cNvGrpSpPr/>
            <p:nvPr/>
          </p:nvGrpSpPr>
          <p:grpSpPr>
            <a:xfrm>
              <a:off x="220554" y="5369470"/>
              <a:ext cx="991460" cy="544467"/>
              <a:chOff x="1137725" y="3837998"/>
              <a:chExt cx="972361" cy="533978"/>
            </a:xfrm>
          </p:grpSpPr>
          <p:grpSp>
            <p:nvGrpSpPr>
              <p:cNvPr id="385" name="Group 384"/>
              <p:cNvGrpSpPr/>
              <p:nvPr/>
            </p:nvGrpSpPr>
            <p:grpSpPr>
              <a:xfrm>
                <a:off x="1137725" y="3837998"/>
                <a:ext cx="972361" cy="533978"/>
                <a:chOff x="42431" y="3837998"/>
                <a:chExt cx="972361" cy="533978"/>
              </a:xfrm>
            </p:grpSpPr>
            <p:sp>
              <p:nvSpPr>
                <p:cNvPr id="387" name="Rounded Rectangle 38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88" name="TextBox 38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sp>
              <p:nvSpPr>
                <p:cNvPr id="389" name="TextBox 38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Managed web platform, get started for free and scale as you go using many tools/ languages.</a:t>
                  </a:r>
                </a:p>
              </p:txBody>
            </p:sp>
          </p:grpSp>
          <p:pic>
            <p:nvPicPr>
              <p:cNvPr id="386" name="Picture 3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184028" y="3855134"/>
                <a:ext cx="208652" cy="208652"/>
              </a:xfrm>
              <a:prstGeom prst="rect">
                <a:avLst/>
              </a:prstGeom>
            </p:spPr>
          </p:pic>
        </p:grpSp>
        <p:grpSp>
          <p:nvGrpSpPr>
            <p:cNvPr id="390" name="Group 389"/>
            <p:cNvGrpSpPr/>
            <p:nvPr/>
          </p:nvGrpSpPr>
          <p:grpSpPr>
            <a:xfrm>
              <a:off x="1260441" y="5369470"/>
              <a:ext cx="991460" cy="544467"/>
              <a:chOff x="42431" y="3837998"/>
              <a:chExt cx="972361" cy="533978"/>
            </a:xfrm>
          </p:grpSpPr>
          <p:sp>
            <p:nvSpPr>
              <p:cNvPr id="391" name="Rounded Rectangle 39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92" name="TextBox 391"/>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Add backend capabilities to mobile apps, with native client support on most device platforms.</a:t>
                </a:r>
              </a:p>
            </p:txBody>
          </p:sp>
          <p:sp>
            <p:nvSpPr>
              <p:cNvPr id="393" name="TextBox 392"/>
              <p:cNvSpPr txBox="1"/>
              <p:nvPr/>
            </p:nvSpPr>
            <p:spPr>
              <a:xfrm>
                <a:off x="368334" y="3837999"/>
                <a:ext cx="646458" cy="256596"/>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grpSp>
        <p:pic>
          <p:nvPicPr>
            <p:cNvPr id="394" name="Picture 393"/>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309686" y="5369470"/>
              <a:ext cx="205803" cy="205804"/>
            </a:xfrm>
            <a:prstGeom prst="rect">
              <a:avLst/>
            </a:prstGeom>
          </p:spPr>
        </p:pic>
        <p:grpSp>
          <p:nvGrpSpPr>
            <p:cNvPr id="395" name="Group 394"/>
            <p:cNvGrpSpPr/>
            <p:nvPr/>
          </p:nvGrpSpPr>
          <p:grpSpPr>
            <a:xfrm>
              <a:off x="2294802" y="5369470"/>
              <a:ext cx="991460" cy="544467"/>
              <a:chOff x="2189218" y="4645147"/>
              <a:chExt cx="972361" cy="533978"/>
            </a:xfrm>
          </p:grpSpPr>
          <p:grpSp>
            <p:nvGrpSpPr>
              <p:cNvPr id="396" name="Group 395"/>
              <p:cNvGrpSpPr/>
              <p:nvPr/>
            </p:nvGrpSpPr>
            <p:grpSpPr>
              <a:xfrm>
                <a:off x="2189218" y="4645147"/>
                <a:ext cx="972361" cy="533978"/>
                <a:chOff x="42431" y="3837998"/>
                <a:chExt cx="972361" cy="533978"/>
              </a:xfrm>
            </p:grpSpPr>
            <p:sp>
              <p:nvSpPr>
                <p:cNvPr id="398" name="Rounded Rectangle 39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399" name="TextBox 39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Create and surface your app logic as APIs for other services and apps to consume.</a:t>
                  </a:r>
                </a:p>
              </p:txBody>
            </p:sp>
            <p:sp>
              <p:nvSpPr>
                <p:cNvPr id="400" name="TextBox 399"/>
                <p:cNvSpPr txBox="1"/>
                <p:nvPr/>
              </p:nvSpPr>
              <p:spPr>
                <a:xfrm>
                  <a:off x="368334" y="3837998"/>
                  <a:ext cx="646458" cy="251659"/>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grpSp>
          <p:pic>
            <p:nvPicPr>
              <p:cNvPr id="397" name="Picture 396"/>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2239937" y="4667837"/>
                <a:ext cx="208558" cy="208558"/>
              </a:xfrm>
              <a:prstGeom prst="rect">
                <a:avLst/>
              </a:prstGeom>
            </p:spPr>
          </p:pic>
        </p:grpSp>
        <p:grpSp>
          <p:nvGrpSpPr>
            <p:cNvPr id="401" name="Group 400"/>
            <p:cNvGrpSpPr/>
            <p:nvPr/>
          </p:nvGrpSpPr>
          <p:grpSpPr>
            <a:xfrm>
              <a:off x="3322073" y="5369470"/>
              <a:ext cx="991460" cy="544467"/>
              <a:chOff x="158240" y="6476672"/>
              <a:chExt cx="972361" cy="533978"/>
            </a:xfrm>
          </p:grpSpPr>
          <p:grpSp>
            <p:nvGrpSpPr>
              <p:cNvPr id="402" name="Group 401"/>
              <p:cNvGrpSpPr/>
              <p:nvPr/>
            </p:nvGrpSpPr>
            <p:grpSpPr>
              <a:xfrm>
                <a:off x="158240" y="6476672"/>
                <a:ext cx="972361" cy="533978"/>
                <a:chOff x="42431" y="3837998"/>
                <a:chExt cx="972361" cy="533978"/>
              </a:xfrm>
            </p:grpSpPr>
            <p:sp>
              <p:nvSpPr>
                <p:cNvPr id="404" name="Rounded Rectangle 403"/>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05" name="TextBox 404"/>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sp>
              <p:nvSpPr>
                <p:cNvPr id="406" name="TextBox 405"/>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Build/execute business processes by linking your own custom API’s with an API Gallery/Marketplace</a:t>
                  </a:r>
                </a:p>
              </p:txBody>
            </p:sp>
          </p:grpSp>
          <p:pic>
            <p:nvPicPr>
              <p:cNvPr id="403" name="Picture 402"/>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04543" y="6499780"/>
                <a:ext cx="218285" cy="218285"/>
              </a:xfrm>
              <a:prstGeom prst="rect">
                <a:avLst/>
              </a:prstGeom>
            </p:spPr>
          </p:pic>
        </p:grpSp>
      </p:grpSp>
      <p:grpSp>
        <p:nvGrpSpPr>
          <p:cNvPr id="610" name="Group 609"/>
          <p:cNvGrpSpPr/>
          <p:nvPr/>
        </p:nvGrpSpPr>
        <p:grpSpPr>
          <a:xfrm>
            <a:off x="5572077" y="5909586"/>
            <a:ext cx="6433624" cy="847111"/>
            <a:chOff x="5683808" y="6027589"/>
            <a:chExt cx="6562632" cy="864097"/>
          </a:xfrm>
        </p:grpSpPr>
        <p:sp>
          <p:nvSpPr>
            <p:cNvPr id="409" name="Rectangle 408"/>
            <p:cNvSpPr/>
            <p:nvPr/>
          </p:nvSpPr>
          <p:spPr bwMode="auto">
            <a:xfrm>
              <a:off x="5683808" y="6027589"/>
              <a:ext cx="6562632" cy="864097"/>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nl-NL"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TextBox 409"/>
            <p:cNvSpPr txBox="1"/>
            <p:nvPr/>
          </p:nvSpPr>
          <p:spPr>
            <a:xfrm>
              <a:off x="8536013" y="6109926"/>
              <a:ext cx="985284" cy="213931"/>
            </a:xfrm>
            <a:prstGeom prst="rect">
              <a:avLst/>
            </a:prstGeom>
            <a:noFill/>
          </p:spPr>
          <p:txBody>
            <a:bodyPr wrap="none" lIns="0" tIns="0" rIns="0" bIns="0" rtlCol="0">
              <a:noAutofit/>
            </a:bodyPr>
            <a:lstStyle/>
            <a:p>
              <a:pPr algn="ctr" defTabSz="913950" eaLnBrk="0" fontAlgn="base" hangingPunct="0">
                <a:spcBef>
                  <a:spcPct val="0"/>
                </a:spcBef>
                <a:spcAft>
                  <a:spcPct val="0"/>
                </a:spcAft>
              </a:pPr>
              <a:r>
                <a:rPr lang="en-US" sz="882" dirty="0" err="1">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IoT</a:t>
              </a:r>
              <a:r>
                <a:rPr lang="en-US" sz="882"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 Suite</a:t>
              </a:r>
            </a:p>
          </p:txBody>
        </p:sp>
        <p:grpSp>
          <p:nvGrpSpPr>
            <p:cNvPr id="448" name="Group 447"/>
            <p:cNvGrpSpPr/>
            <p:nvPr/>
          </p:nvGrpSpPr>
          <p:grpSpPr>
            <a:xfrm>
              <a:off x="5879341" y="6262589"/>
              <a:ext cx="991460" cy="544466"/>
              <a:chOff x="4486339" y="3837998"/>
              <a:chExt cx="972361" cy="533978"/>
            </a:xfrm>
          </p:grpSpPr>
          <p:grpSp>
            <p:nvGrpSpPr>
              <p:cNvPr id="480" name="Group 479"/>
              <p:cNvGrpSpPr/>
              <p:nvPr/>
            </p:nvGrpSpPr>
            <p:grpSpPr>
              <a:xfrm>
                <a:off x="4486339" y="3837998"/>
                <a:ext cx="972361" cy="533978"/>
                <a:chOff x="42431" y="3837998"/>
                <a:chExt cx="972361" cy="533978"/>
              </a:xfrm>
            </p:grpSpPr>
            <p:sp>
              <p:nvSpPr>
                <p:cNvPr id="482" name="Rounded Rectangle 481"/>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83" name="TextBox 482"/>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484" name="TextBox 483"/>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Big Data (based on Apache Hadoop) analytics that integrate easily with Microsoft Office.</a:t>
                  </a:r>
                </a:p>
              </p:txBody>
            </p:sp>
          </p:grpSp>
          <p:pic>
            <p:nvPicPr>
              <p:cNvPr id="481" name="Picture 480"/>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4511651" y="3841971"/>
                <a:ext cx="245952" cy="245952"/>
              </a:xfrm>
              <a:prstGeom prst="rect">
                <a:avLst/>
              </a:prstGeom>
            </p:spPr>
          </p:pic>
        </p:grpSp>
        <p:grpSp>
          <p:nvGrpSpPr>
            <p:cNvPr id="449" name="Group 448"/>
            <p:cNvGrpSpPr/>
            <p:nvPr/>
          </p:nvGrpSpPr>
          <p:grpSpPr>
            <a:xfrm>
              <a:off x="6920585" y="6262599"/>
              <a:ext cx="991460" cy="544466"/>
              <a:chOff x="4486339" y="4446671"/>
              <a:chExt cx="972361" cy="533978"/>
            </a:xfrm>
          </p:grpSpPr>
          <p:grpSp>
            <p:nvGrpSpPr>
              <p:cNvPr id="475" name="Group 474"/>
              <p:cNvGrpSpPr/>
              <p:nvPr/>
            </p:nvGrpSpPr>
            <p:grpSpPr>
              <a:xfrm>
                <a:off x="4486339" y="4446671"/>
                <a:ext cx="972361" cy="533978"/>
                <a:chOff x="42431" y="3837998"/>
                <a:chExt cx="972361" cy="533978"/>
              </a:xfrm>
            </p:grpSpPr>
            <p:sp>
              <p:nvSpPr>
                <p:cNvPr id="477" name="Rounded Rectangle 47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78" name="TextBox 47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sp>
              <p:nvSpPr>
                <p:cNvPr id="479" name="TextBox 47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ine historical data with compute power to predict future trends or behavior.</a:t>
                  </a:r>
                </a:p>
              </p:txBody>
            </p:sp>
          </p:grpSp>
          <p:pic>
            <p:nvPicPr>
              <p:cNvPr id="476" name="Picture 475"/>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4539812" y="4469433"/>
                <a:ext cx="201839" cy="201839"/>
              </a:xfrm>
              <a:prstGeom prst="rect">
                <a:avLst/>
              </a:prstGeom>
            </p:spPr>
          </p:pic>
        </p:grpSp>
        <p:grpSp>
          <p:nvGrpSpPr>
            <p:cNvPr id="450" name="Group 449"/>
            <p:cNvGrpSpPr/>
            <p:nvPr/>
          </p:nvGrpSpPr>
          <p:grpSpPr>
            <a:xfrm>
              <a:off x="7954471" y="6255710"/>
              <a:ext cx="991460" cy="549369"/>
              <a:chOff x="6112806" y="5841670"/>
              <a:chExt cx="972361" cy="538787"/>
            </a:xfrm>
          </p:grpSpPr>
          <p:grpSp>
            <p:nvGrpSpPr>
              <p:cNvPr id="470" name="Group 469"/>
              <p:cNvGrpSpPr/>
              <p:nvPr/>
            </p:nvGrpSpPr>
            <p:grpSpPr>
              <a:xfrm>
                <a:off x="6112806" y="5846479"/>
                <a:ext cx="972361" cy="533978"/>
                <a:chOff x="42431" y="3837998"/>
                <a:chExt cx="972361" cy="533978"/>
              </a:xfrm>
            </p:grpSpPr>
            <p:sp>
              <p:nvSpPr>
                <p:cNvPr id="472" name="Rounded Rectangle 471"/>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73" name="TextBox 472"/>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sp>
              <p:nvSpPr>
                <p:cNvPr id="474" name="TextBox 473"/>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Process data streams in real-time to discover and react to trends. </a:t>
                  </a:r>
                </a:p>
              </p:txBody>
            </p:sp>
          </p:grpSp>
          <p:pic>
            <p:nvPicPr>
              <p:cNvPr id="471" name="Picture 470"/>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6140509" y="5841670"/>
                <a:ext cx="243754" cy="243754"/>
              </a:xfrm>
              <a:prstGeom prst="rect">
                <a:avLst/>
              </a:prstGeom>
            </p:spPr>
          </p:pic>
        </p:grpSp>
        <p:grpSp>
          <p:nvGrpSpPr>
            <p:cNvPr id="451" name="Group 450"/>
            <p:cNvGrpSpPr/>
            <p:nvPr/>
          </p:nvGrpSpPr>
          <p:grpSpPr>
            <a:xfrm>
              <a:off x="8984024" y="6261543"/>
              <a:ext cx="991460" cy="544466"/>
              <a:chOff x="6112806" y="6456511"/>
              <a:chExt cx="972361" cy="533978"/>
            </a:xfrm>
          </p:grpSpPr>
          <p:grpSp>
            <p:nvGrpSpPr>
              <p:cNvPr id="465" name="Group 464"/>
              <p:cNvGrpSpPr/>
              <p:nvPr/>
            </p:nvGrpSpPr>
            <p:grpSpPr>
              <a:xfrm>
                <a:off x="6112806" y="6456511"/>
                <a:ext cx="972361" cy="533978"/>
                <a:chOff x="42431" y="3837998"/>
                <a:chExt cx="972361" cy="533978"/>
              </a:xfrm>
            </p:grpSpPr>
            <p:sp>
              <p:nvSpPr>
                <p:cNvPr id="467" name="Rounded Rectangle 46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68" name="TextBox 46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sp>
              <p:nvSpPr>
                <p:cNvPr id="469" name="TextBox 46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ngest data from multiple sources to combine into a cloud based Data Warehouse.</a:t>
                  </a:r>
                </a:p>
              </p:txBody>
            </p:sp>
          </p:grpSp>
          <p:pic>
            <p:nvPicPr>
              <p:cNvPr id="466" name="Picture 465"/>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166631" y="6472176"/>
                <a:ext cx="185210" cy="185210"/>
              </a:xfrm>
              <a:prstGeom prst="rect">
                <a:avLst/>
              </a:prstGeom>
            </p:spPr>
          </p:pic>
        </p:grpSp>
        <p:grpSp>
          <p:nvGrpSpPr>
            <p:cNvPr id="452" name="Group 451"/>
            <p:cNvGrpSpPr/>
            <p:nvPr/>
          </p:nvGrpSpPr>
          <p:grpSpPr>
            <a:xfrm>
              <a:off x="10018399" y="6262589"/>
              <a:ext cx="991460" cy="544466"/>
              <a:chOff x="6112806" y="7065185"/>
              <a:chExt cx="972361" cy="533978"/>
            </a:xfrm>
          </p:grpSpPr>
          <p:grpSp>
            <p:nvGrpSpPr>
              <p:cNvPr id="460" name="Group 459"/>
              <p:cNvGrpSpPr/>
              <p:nvPr/>
            </p:nvGrpSpPr>
            <p:grpSpPr>
              <a:xfrm>
                <a:off x="6112806" y="7065185"/>
                <a:ext cx="972361" cy="533978"/>
                <a:chOff x="42431" y="3837998"/>
                <a:chExt cx="972361" cy="533978"/>
              </a:xfrm>
            </p:grpSpPr>
            <p:sp>
              <p:nvSpPr>
                <p:cNvPr id="462" name="Rounded Rectangle 461"/>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63" name="TextBox 462"/>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sp>
              <p:nvSpPr>
                <p:cNvPr id="464" name="TextBox 463"/>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Ingest, persist, process millions of events per second from millions of devices.</a:t>
                  </a:r>
                </a:p>
              </p:txBody>
            </p:sp>
          </p:grpSp>
          <p:pic>
            <p:nvPicPr>
              <p:cNvPr id="461" name="Picture 460"/>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70137" y="7085183"/>
                <a:ext cx="196379" cy="196379"/>
              </a:xfrm>
              <a:prstGeom prst="rect">
                <a:avLst/>
              </a:prstGeom>
            </p:spPr>
          </p:pic>
        </p:grpSp>
        <p:grpSp>
          <p:nvGrpSpPr>
            <p:cNvPr id="485" name="Group 484"/>
            <p:cNvGrpSpPr/>
            <p:nvPr/>
          </p:nvGrpSpPr>
          <p:grpSpPr>
            <a:xfrm>
              <a:off x="11058285" y="6256598"/>
              <a:ext cx="991460" cy="544467"/>
              <a:chOff x="1137725" y="5674022"/>
              <a:chExt cx="972361" cy="533978"/>
            </a:xfrm>
          </p:grpSpPr>
          <p:grpSp>
            <p:nvGrpSpPr>
              <p:cNvPr id="486" name="Group 485"/>
              <p:cNvGrpSpPr/>
              <p:nvPr/>
            </p:nvGrpSpPr>
            <p:grpSpPr>
              <a:xfrm>
                <a:off x="1137725" y="5674022"/>
                <a:ext cx="972361" cy="533978"/>
                <a:chOff x="42431" y="3837998"/>
                <a:chExt cx="972361" cy="533978"/>
              </a:xfrm>
            </p:grpSpPr>
            <p:sp>
              <p:nvSpPr>
                <p:cNvPr id="488" name="Rounded Rectangle 487"/>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89" name="TextBox 488"/>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sp>
              <p:nvSpPr>
                <p:cNvPr id="490" name="TextBox 489"/>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Deliver millions of cross platform push notifications from any application backend, anywhere.</a:t>
                  </a:r>
                </a:p>
              </p:txBody>
            </p:sp>
          </p:grpSp>
          <p:pic>
            <p:nvPicPr>
              <p:cNvPr id="487" name="Picture 48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70231" y="5689571"/>
                <a:ext cx="217025" cy="217025"/>
              </a:xfrm>
              <a:prstGeom prst="rect">
                <a:avLst/>
              </a:prstGeom>
            </p:spPr>
          </p:pic>
        </p:grpSp>
      </p:grpSp>
      <p:grpSp>
        <p:nvGrpSpPr>
          <p:cNvPr id="607" name="Group 606"/>
          <p:cNvGrpSpPr/>
          <p:nvPr/>
        </p:nvGrpSpPr>
        <p:grpSpPr>
          <a:xfrm>
            <a:off x="9882482" y="4975818"/>
            <a:ext cx="2114174" cy="847111"/>
            <a:chOff x="4565725" y="5153446"/>
            <a:chExt cx="2156568" cy="864097"/>
          </a:xfrm>
        </p:grpSpPr>
        <p:sp>
          <p:nvSpPr>
            <p:cNvPr id="407" name="Rectangle 406"/>
            <p:cNvSpPr/>
            <p:nvPr/>
          </p:nvSpPr>
          <p:spPr bwMode="auto">
            <a:xfrm>
              <a:off x="4565725" y="5153446"/>
              <a:ext cx="2156568" cy="864097"/>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nl-NL"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1" name="TextBox 490"/>
            <p:cNvSpPr txBox="1"/>
            <p:nvPr/>
          </p:nvSpPr>
          <p:spPr>
            <a:xfrm>
              <a:off x="5145448" y="5179101"/>
              <a:ext cx="985284" cy="213931"/>
            </a:xfrm>
            <a:prstGeom prst="rect">
              <a:avLst/>
            </a:prstGeom>
            <a:noFill/>
          </p:spPr>
          <p:txBody>
            <a:bodyPr wrap="none" lIns="0" tIns="0" rIns="0" bIns="0" rtlCol="0">
              <a:noAutofit/>
            </a:bodyPr>
            <a:lstStyle/>
            <a:p>
              <a:pPr algn="ctr" defTabSz="913950" eaLnBrk="0" fontAlgn="base" hangingPunct="0">
                <a:spcBef>
                  <a:spcPct val="0"/>
                </a:spcBef>
                <a:spcAft>
                  <a:spcPct val="0"/>
                </a:spcAft>
              </a:pPr>
              <a:r>
                <a:rPr lang="en-US" sz="882"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Availability on Demand</a:t>
              </a:r>
            </a:p>
          </p:txBody>
        </p:sp>
        <p:grpSp>
          <p:nvGrpSpPr>
            <p:cNvPr id="492" name="Group 491"/>
            <p:cNvGrpSpPr/>
            <p:nvPr/>
          </p:nvGrpSpPr>
          <p:grpSpPr>
            <a:xfrm>
              <a:off x="4646248" y="5369470"/>
              <a:ext cx="991460" cy="544467"/>
              <a:chOff x="-1203244" y="2893322"/>
              <a:chExt cx="972361" cy="533978"/>
            </a:xfrm>
          </p:grpSpPr>
          <p:grpSp>
            <p:nvGrpSpPr>
              <p:cNvPr id="493" name="Group 492"/>
              <p:cNvGrpSpPr/>
              <p:nvPr/>
            </p:nvGrpSpPr>
            <p:grpSpPr>
              <a:xfrm>
                <a:off x="-1203244" y="2893322"/>
                <a:ext cx="972361" cy="533978"/>
                <a:chOff x="42431" y="3837998"/>
                <a:chExt cx="972361" cy="533978"/>
              </a:xfrm>
            </p:grpSpPr>
            <p:sp>
              <p:nvSpPr>
                <p:cNvPr id="495" name="Rounded Rectangle 494"/>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496" name="TextBox 495"/>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sp>
              <p:nvSpPr>
                <p:cNvPr id="497" name="TextBox 496"/>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anaged service that handles backup/restore of Windows Server machines/backup agent.</a:t>
                  </a:r>
                </a:p>
              </p:txBody>
            </p:sp>
          </p:grpSp>
          <p:pic>
            <p:nvPicPr>
              <p:cNvPr id="494" name="Picture 493" descr="Backup Servic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173757" y="2908709"/>
                <a:ext cx="242857" cy="242857"/>
              </a:xfrm>
              <a:prstGeom prst="rect">
                <a:avLst/>
              </a:prstGeom>
            </p:spPr>
          </p:pic>
        </p:grpSp>
        <p:grpSp>
          <p:nvGrpSpPr>
            <p:cNvPr id="498" name="Group 497"/>
            <p:cNvGrpSpPr/>
            <p:nvPr/>
          </p:nvGrpSpPr>
          <p:grpSpPr>
            <a:xfrm>
              <a:off x="5677305" y="5369470"/>
              <a:ext cx="991460" cy="544467"/>
              <a:chOff x="-1203244" y="4110669"/>
              <a:chExt cx="972361" cy="533978"/>
            </a:xfrm>
          </p:grpSpPr>
          <p:grpSp>
            <p:nvGrpSpPr>
              <p:cNvPr id="499" name="Group 498"/>
              <p:cNvGrpSpPr/>
              <p:nvPr/>
            </p:nvGrpSpPr>
            <p:grpSpPr>
              <a:xfrm>
                <a:off x="-1203244" y="4110669"/>
                <a:ext cx="972361" cy="533978"/>
                <a:chOff x="42431" y="3837998"/>
                <a:chExt cx="972361" cy="533978"/>
              </a:xfrm>
            </p:grpSpPr>
            <p:sp>
              <p:nvSpPr>
                <p:cNvPr id="501" name="Rounded Rectangle 50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02" name="TextBox 50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sp>
              <p:nvSpPr>
                <p:cNvPr id="503" name="TextBox 50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Coordinate replication and recovery of System Center private clouds</a:t>
                  </a:r>
                </a:p>
              </p:txBody>
            </p:sp>
          </p:grpSp>
          <p:pic>
            <p:nvPicPr>
              <p:cNvPr id="500" name="Picture 499" descr="Site Recovery.png"/>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1167958" y="4115609"/>
                <a:ext cx="233209" cy="233209"/>
              </a:xfrm>
              <a:prstGeom prst="rect">
                <a:avLst/>
              </a:prstGeom>
            </p:spPr>
          </p:pic>
        </p:grpSp>
      </p:grpSp>
      <p:grpSp>
        <p:nvGrpSpPr>
          <p:cNvPr id="606" name="Group 605"/>
          <p:cNvGrpSpPr/>
          <p:nvPr/>
        </p:nvGrpSpPr>
        <p:grpSpPr>
          <a:xfrm>
            <a:off x="1259068" y="5909586"/>
            <a:ext cx="4204998" cy="847111"/>
            <a:chOff x="6874692" y="5153446"/>
            <a:chExt cx="4289317" cy="864097"/>
          </a:xfrm>
        </p:grpSpPr>
        <p:sp>
          <p:nvSpPr>
            <p:cNvPr id="504" name="Rectangle 503"/>
            <p:cNvSpPr/>
            <p:nvPr/>
          </p:nvSpPr>
          <p:spPr>
            <a:xfrm>
              <a:off x="7656028" y="5179101"/>
              <a:ext cx="2977097" cy="246221"/>
            </a:xfrm>
            <a:prstGeom prst="rect">
              <a:avLst/>
            </a:prstGeom>
            <a:noFill/>
          </p:spPr>
          <p:txBody>
            <a:bodyPr wrap="none" lIns="0" tIns="0" rIns="0" bIns="0" rtlCol="0">
              <a:noAutofit/>
            </a:bodyPr>
            <a:lstStyle/>
            <a:p>
              <a:pPr algn="ctr" defTabSz="913950" eaLnBrk="0" fontAlgn="base" hangingPunct="0">
                <a:spcBef>
                  <a:spcPct val="0"/>
                </a:spcBef>
                <a:spcAft>
                  <a:spcPct val="0"/>
                </a:spcAft>
              </a:pPr>
              <a:r>
                <a:rPr lang="fr-FR" sz="882"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rPr>
                <a:t>Microsoft Operations Management Suite (OMS)</a:t>
              </a:r>
              <a:endParaRPr lang="nl-NL" sz="882" dirty="0">
                <a:solidFill>
                  <a:srgbClr val="ED7D31">
                    <a:lumMod val="60000"/>
                    <a:lumOff val="40000"/>
                  </a:srgbClr>
                </a:solidFill>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505" name="Rectangle 504"/>
            <p:cNvSpPr/>
            <p:nvPr/>
          </p:nvSpPr>
          <p:spPr bwMode="auto">
            <a:xfrm>
              <a:off x="6874692" y="5153446"/>
              <a:ext cx="4289317" cy="864097"/>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nl-NL"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6" name="Group 505"/>
            <p:cNvGrpSpPr/>
            <p:nvPr/>
          </p:nvGrpSpPr>
          <p:grpSpPr>
            <a:xfrm>
              <a:off x="6938317" y="5369470"/>
              <a:ext cx="991460" cy="544467"/>
              <a:chOff x="-1203244" y="2893322"/>
              <a:chExt cx="972361" cy="533978"/>
            </a:xfrm>
          </p:grpSpPr>
          <p:grpSp>
            <p:nvGrpSpPr>
              <p:cNvPr id="507" name="Group 506"/>
              <p:cNvGrpSpPr/>
              <p:nvPr/>
            </p:nvGrpSpPr>
            <p:grpSpPr>
              <a:xfrm>
                <a:off x="-1203244" y="2893322"/>
                <a:ext cx="972361" cy="533978"/>
                <a:chOff x="42431" y="3837998"/>
                <a:chExt cx="972361" cy="533978"/>
              </a:xfrm>
            </p:grpSpPr>
            <p:sp>
              <p:nvSpPr>
                <p:cNvPr id="509" name="Rounded Rectangle 508"/>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10" name="TextBox 509"/>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sp>
              <p:nvSpPr>
                <p:cNvPr id="511" name="TextBox 510"/>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Managed service that handles backup/restore of Windows Server machines/backup agent.</a:t>
                  </a:r>
                </a:p>
              </p:txBody>
            </p:sp>
          </p:grpSp>
          <p:pic>
            <p:nvPicPr>
              <p:cNvPr id="508" name="Picture 507" descr="Backup Servic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173757" y="2908709"/>
                <a:ext cx="242857" cy="242857"/>
              </a:xfrm>
              <a:prstGeom prst="rect">
                <a:avLst/>
              </a:prstGeom>
            </p:spPr>
          </p:pic>
        </p:grpSp>
        <p:grpSp>
          <p:nvGrpSpPr>
            <p:cNvPr id="512" name="Group 511"/>
            <p:cNvGrpSpPr/>
            <p:nvPr/>
          </p:nvGrpSpPr>
          <p:grpSpPr>
            <a:xfrm>
              <a:off x="7969374" y="5369470"/>
              <a:ext cx="991460" cy="544467"/>
              <a:chOff x="-1203244" y="4110669"/>
              <a:chExt cx="972361" cy="533978"/>
            </a:xfrm>
          </p:grpSpPr>
          <p:grpSp>
            <p:nvGrpSpPr>
              <p:cNvPr id="513" name="Group 512"/>
              <p:cNvGrpSpPr/>
              <p:nvPr/>
            </p:nvGrpSpPr>
            <p:grpSpPr>
              <a:xfrm>
                <a:off x="-1203244" y="4110669"/>
                <a:ext cx="972361" cy="533978"/>
                <a:chOff x="42431" y="3837998"/>
                <a:chExt cx="972361" cy="533978"/>
              </a:xfrm>
            </p:grpSpPr>
            <p:sp>
              <p:nvSpPr>
                <p:cNvPr id="515" name="Rounded Rectangle 514"/>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16" name="TextBox 515"/>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sp>
              <p:nvSpPr>
                <p:cNvPr id="517" name="TextBox 516"/>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Coordinate replication and recovery of System Center private clouds</a:t>
                  </a:r>
                </a:p>
              </p:txBody>
            </p:sp>
          </p:grpSp>
          <p:pic>
            <p:nvPicPr>
              <p:cNvPr id="514" name="Picture 513" descr="Site Recovery.png"/>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1167958" y="4115609"/>
                <a:ext cx="233209" cy="233209"/>
              </a:xfrm>
              <a:prstGeom prst="rect">
                <a:avLst/>
              </a:prstGeom>
            </p:spPr>
          </p:pic>
        </p:grpSp>
        <p:grpSp>
          <p:nvGrpSpPr>
            <p:cNvPr id="518" name="Group 517"/>
            <p:cNvGrpSpPr/>
            <p:nvPr/>
          </p:nvGrpSpPr>
          <p:grpSpPr>
            <a:xfrm>
              <a:off x="9026549" y="5369470"/>
              <a:ext cx="991460" cy="544467"/>
              <a:chOff x="-2749284" y="5840395"/>
              <a:chExt cx="972361" cy="533978"/>
            </a:xfrm>
          </p:grpSpPr>
          <p:grpSp>
            <p:nvGrpSpPr>
              <p:cNvPr id="519" name="Group 518"/>
              <p:cNvGrpSpPr/>
              <p:nvPr/>
            </p:nvGrpSpPr>
            <p:grpSpPr>
              <a:xfrm>
                <a:off x="-2749284" y="5840395"/>
                <a:ext cx="972361" cy="533978"/>
                <a:chOff x="42431" y="3837998"/>
                <a:chExt cx="972361" cy="533978"/>
              </a:xfrm>
            </p:grpSpPr>
            <p:sp>
              <p:nvSpPr>
                <p:cNvPr id="521" name="Rounded Rectangle 520"/>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22" name="TextBox 521"/>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sp>
              <p:nvSpPr>
                <p:cNvPr id="523" name="TextBox 522"/>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Analyze and troubleshoot on-premises IT infrastructure without using instrumented code.</a:t>
                  </a:r>
                </a:p>
              </p:txBody>
            </p:sp>
          </p:grpSp>
          <p:pic>
            <p:nvPicPr>
              <p:cNvPr id="520" name="Picture 519" descr="Operational Insights.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2706916" y="5859005"/>
                <a:ext cx="212835" cy="212835"/>
              </a:xfrm>
              <a:prstGeom prst="rect">
                <a:avLst/>
              </a:prstGeom>
            </p:spPr>
          </p:pic>
        </p:grpSp>
        <p:grpSp>
          <p:nvGrpSpPr>
            <p:cNvPr id="524" name="Group 523"/>
            <p:cNvGrpSpPr/>
            <p:nvPr/>
          </p:nvGrpSpPr>
          <p:grpSpPr>
            <a:xfrm>
              <a:off x="10106669" y="5369470"/>
              <a:ext cx="991460" cy="544467"/>
              <a:chOff x="-2749284" y="4014314"/>
              <a:chExt cx="972361" cy="533978"/>
            </a:xfrm>
          </p:grpSpPr>
          <p:grpSp>
            <p:nvGrpSpPr>
              <p:cNvPr id="525" name="Group 524"/>
              <p:cNvGrpSpPr/>
              <p:nvPr/>
            </p:nvGrpSpPr>
            <p:grpSpPr>
              <a:xfrm>
                <a:off x="-2749284" y="4014314"/>
                <a:ext cx="972361" cy="533978"/>
                <a:chOff x="42431" y="3837998"/>
                <a:chExt cx="972361" cy="533978"/>
              </a:xfrm>
            </p:grpSpPr>
            <p:sp>
              <p:nvSpPr>
                <p:cNvPr id="527" name="Rounded Rectangle 52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28" name="TextBox 52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sp>
              <p:nvSpPr>
                <p:cNvPr id="529" name="TextBox 528"/>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defPPr>
                    <a:defRPr lang="en-US"/>
                  </a:defPPr>
                  <a:lvl1pPr>
                    <a:lnSpc>
                      <a:spcPts val="600"/>
                    </a:lnSpc>
                    <a:defRPr sz="50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defRPr>
                  </a:lvl1pPr>
                </a:lstStyle>
                <a:p>
                  <a:pPr defTabSz="913950" eaLnBrk="0" fontAlgn="base" hangingPunct="0">
                    <a:spcBef>
                      <a:spcPct val="0"/>
                    </a:spcBef>
                    <a:spcAft>
                      <a:spcPct val="0"/>
                    </a:spcAft>
                  </a:pPr>
                  <a:r>
                    <a:rPr lang="en-US" dirty="0"/>
                    <a:t>Run durable PowerShell scripts to automate frequent, long running, complex Azure tasks.</a:t>
                  </a:r>
                </a:p>
              </p:txBody>
            </p:sp>
          </p:grpSp>
          <p:pic>
            <p:nvPicPr>
              <p:cNvPr id="526" name="Picture 525" descr="Azure automation.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2715114" y="4030206"/>
                <a:ext cx="191668" cy="191668"/>
              </a:xfrm>
              <a:prstGeom prst="rect">
                <a:avLst/>
              </a:prstGeom>
            </p:spPr>
          </p:pic>
        </p:grpSp>
      </p:grpSp>
      <p:grpSp>
        <p:nvGrpSpPr>
          <p:cNvPr id="584" name="Group 583"/>
          <p:cNvGrpSpPr/>
          <p:nvPr/>
        </p:nvGrpSpPr>
        <p:grpSpPr>
          <a:xfrm>
            <a:off x="37542" y="4321579"/>
            <a:ext cx="971970" cy="533762"/>
            <a:chOff x="3390744" y="3837998"/>
            <a:chExt cx="972361" cy="533977"/>
          </a:xfrm>
        </p:grpSpPr>
        <p:grpSp>
          <p:nvGrpSpPr>
            <p:cNvPr id="585" name="Group 584"/>
            <p:cNvGrpSpPr/>
            <p:nvPr/>
          </p:nvGrpSpPr>
          <p:grpSpPr>
            <a:xfrm>
              <a:off x="3390744" y="3837998"/>
              <a:ext cx="972361" cy="533977"/>
              <a:chOff x="42431" y="3837998"/>
              <a:chExt cx="972361" cy="533977"/>
            </a:xfrm>
          </p:grpSpPr>
          <p:sp>
            <p:nvSpPr>
              <p:cNvPr id="587" name="Rounded Rectangle 586"/>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88" name="TextBox 587"/>
              <p:cNvSpPr txBox="1"/>
              <p:nvPr/>
            </p:nvSpPr>
            <p:spPr>
              <a:xfrm>
                <a:off x="368334" y="3837998"/>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sp>
            <p:nvSpPr>
              <p:cNvPr id="589" name="TextBox 588"/>
              <p:cNvSpPr txBox="1"/>
              <p:nvPr/>
            </p:nvSpPr>
            <p:spPr>
              <a:xfrm>
                <a:off x="43016" y="4056079"/>
                <a:ext cx="961159" cy="315896"/>
              </a:xfrm>
              <a:prstGeom prst="rect">
                <a:avLst/>
              </a:prstGeom>
              <a:noFill/>
              <a:ln>
                <a:noFill/>
              </a:ln>
            </p:spPr>
            <p:txBody>
              <a:bodyPr wrap="square" lIns="27421" tIns="45702" rIns="0" bIns="0" rtlCol="0" anchor="ctr">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Elastic data warehouse as-a-service that can dynamically grow and shrink and only pay for query performance</a:t>
                </a:r>
              </a:p>
            </p:txBody>
          </p:sp>
        </p:grpSp>
        <p:pic>
          <p:nvPicPr>
            <p:cNvPr id="586" name="Picture 585"/>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430983" y="3855134"/>
              <a:ext cx="227075" cy="227075"/>
            </a:xfrm>
            <a:prstGeom prst="rect">
              <a:avLst/>
            </a:prstGeom>
          </p:spPr>
        </p:pic>
      </p:grpSp>
      <p:grpSp>
        <p:nvGrpSpPr>
          <p:cNvPr id="590" name="Group 589"/>
          <p:cNvGrpSpPr/>
          <p:nvPr/>
        </p:nvGrpSpPr>
        <p:grpSpPr>
          <a:xfrm>
            <a:off x="1075614" y="4321579"/>
            <a:ext cx="971643" cy="533762"/>
            <a:chOff x="3390744" y="3837998"/>
            <a:chExt cx="972033" cy="533977"/>
          </a:xfrm>
        </p:grpSpPr>
        <p:grpSp>
          <p:nvGrpSpPr>
            <p:cNvPr id="591" name="Group 590"/>
            <p:cNvGrpSpPr/>
            <p:nvPr/>
          </p:nvGrpSpPr>
          <p:grpSpPr>
            <a:xfrm>
              <a:off x="3390744" y="3837998"/>
              <a:ext cx="972033" cy="533977"/>
              <a:chOff x="42431" y="3837998"/>
              <a:chExt cx="972033" cy="533977"/>
            </a:xfrm>
          </p:grpSpPr>
          <p:sp>
            <p:nvSpPr>
              <p:cNvPr id="593" name="Rounded Rectangle 592"/>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594" name="TextBox 593"/>
              <p:cNvSpPr txBox="1"/>
              <p:nvPr/>
            </p:nvSpPr>
            <p:spPr>
              <a:xfrm>
                <a:off x="335880" y="3869642"/>
                <a:ext cx="646458" cy="29530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Data lake</a:t>
                </a:r>
              </a:p>
            </p:txBody>
          </p:sp>
          <p:sp>
            <p:nvSpPr>
              <p:cNvPr id="595" name="TextBox 594"/>
              <p:cNvSpPr txBox="1"/>
              <p:nvPr/>
            </p:nvSpPr>
            <p:spPr>
              <a:xfrm>
                <a:off x="43016" y="4056079"/>
                <a:ext cx="961159" cy="315896"/>
              </a:xfrm>
              <a:prstGeom prst="rect">
                <a:avLst/>
              </a:prstGeom>
              <a:noFill/>
              <a:ln>
                <a:noFill/>
              </a:ln>
            </p:spPr>
            <p:txBody>
              <a:bodyPr wrap="square" lIns="27421" tIns="45702" rIns="0" bIns="0" rtlCol="0" anchor="ctr">
                <a:noAutofit/>
              </a:bodyPr>
              <a:lstStyle/>
              <a:p>
                <a:pPr defTabSz="913950" eaLnBrk="0" fontAlgn="base" hangingPunct="0">
                  <a:lnSpc>
                    <a:spcPts val="600"/>
                  </a:lnSpc>
                  <a:spcBef>
                    <a:spcPct val="0"/>
                  </a:spcBef>
                  <a:spcAft>
                    <a:spcPct val="0"/>
                  </a:spcAft>
                </a:pPr>
                <a:r>
                  <a:rPr lang="en-US" sz="500" dirty="0" err="1">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Hyperscale</a:t>
                </a: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 repository for big data analytics, HDFS compatible and provides unlimited storage and data is stored in its native format</a:t>
                </a:r>
              </a:p>
            </p:txBody>
          </p:sp>
        </p:grpSp>
        <p:pic>
          <p:nvPicPr>
            <p:cNvPr id="592" name="Picture 591"/>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430983" y="3855134"/>
              <a:ext cx="227075" cy="227075"/>
            </a:xfrm>
            <a:prstGeom prst="rect">
              <a:avLst/>
            </a:prstGeom>
          </p:spPr>
        </p:pic>
      </p:grpSp>
      <p:grpSp>
        <p:nvGrpSpPr>
          <p:cNvPr id="596" name="Group 595"/>
          <p:cNvGrpSpPr/>
          <p:nvPr/>
        </p:nvGrpSpPr>
        <p:grpSpPr>
          <a:xfrm>
            <a:off x="2118588" y="4327957"/>
            <a:ext cx="971970" cy="533763"/>
            <a:chOff x="2271823" y="5068962"/>
            <a:chExt cx="972361" cy="533978"/>
          </a:xfrm>
        </p:grpSpPr>
        <p:grpSp>
          <p:nvGrpSpPr>
            <p:cNvPr id="597" name="Group 596"/>
            <p:cNvGrpSpPr/>
            <p:nvPr/>
          </p:nvGrpSpPr>
          <p:grpSpPr>
            <a:xfrm>
              <a:off x="2271823" y="5068962"/>
              <a:ext cx="972361" cy="533978"/>
              <a:chOff x="42431" y="3837998"/>
              <a:chExt cx="972361" cy="533978"/>
            </a:xfrm>
          </p:grpSpPr>
          <p:sp>
            <p:nvSpPr>
              <p:cNvPr id="599" name="Rounded Rectangle 598"/>
              <p:cNvSpPr/>
              <p:nvPr/>
            </p:nvSpPr>
            <p:spPr>
              <a:xfrm>
                <a:off x="42431" y="3837998"/>
                <a:ext cx="972033" cy="533977"/>
              </a:xfrm>
              <a:prstGeom prst="roundRect">
                <a:avLst>
                  <a:gd name="adj" fmla="val 2743"/>
                </a:avLst>
              </a:prstGeom>
              <a:solidFill>
                <a:srgbClr val="1B3C72"/>
              </a:solidFill>
              <a:ln>
                <a:solidFill>
                  <a:srgbClr val="1B3C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eaLnBrk="0" fontAlgn="base" hangingPunct="0">
                  <a:spcBef>
                    <a:spcPct val="0"/>
                  </a:spcBef>
                  <a:spcAft>
                    <a:spcPct val="0"/>
                  </a:spcAft>
                </a:pPr>
                <a:endParaRPr lang="en-US" sz="600" dirty="0">
                  <a:solidFill>
                    <a:prstClr val="white"/>
                  </a:solidFill>
                  <a:cs typeface="Segoe UI" panose="020B0502040204020203" pitchFamily="34" charset="0"/>
                </a:endParaRPr>
              </a:p>
            </p:txBody>
          </p:sp>
          <p:sp>
            <p:nvSpPr>
              <p:cNvPr id="600" name="TextBox 599"/>
              <p:cNvSpPr txBox="1"/>
              <p:nvPr/>
            </p:nvSpPr>
            <p:spPr>
              <a:xfrm>
                <a:off x="368334" y="3837999"/>
                <a:ext cx="646458" cy="189765"/>
              </a:xfrm>
              <a:prstGeom prst="rect">
                <a:avLst/>
              </a:prstGeom>
              <a:noFill/>
              <a:ln>
                <a:solidFill>
                  <a:srgbClr val="1B3C72"/>
                </a:solid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DNS</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601" name="TextBox 600"/>
              <p:cNvSpPr txBox="1"/>
              <p:nvPr/>
            </p:nvSpPr>
            <p:spPr>
              <a:xfrm>
                <a:off x="53304" y="4056080"/>
                <a:ext cx="961159" cy="315896"/>
              </a:xfrm>
              <a:prstGeom prst="rect">
                <a:avLst/>
              </a:prstGeom>
              <a:noFill/>
              <a:ln>
                <a:solidFill>
                  <a:srgbClr val="1B3C72"/>
                </a:solidFill>
              </a:ln>
            </p:spPr>
            <p:txBody>
              <a:bodyPr wrap="square" lIns="27421" tIns="45702" rIns="0" bIns="0" rtlCol="0">
                <a:noAutofit/>
              </a:bodyPr>
              <a:lstStyle/>
              <a:p>
                <a:pPr defTabSz="913950" eaLnBrk="0" fontAlgn="base" hangingPunct="0">
                  <a:lnSpc>
                    <a:spcPts val="600"/>
                  </a:lnSpc>
                  <a:spcBef>
                    <a:spcPct val="0"/>
                  </a:spcBef>
                  <a:spcAft>
                    <a:spcPct val="0"/>
                  </a:spcAft>
                </a:pPr>
                <a:r>
                  <a:rPr lang="en-US" sz="500" dirty="0">
                    <a:solidFill>
                      <a:srgbClr val="BFBFBF"/>
                    </a:solidFill>
                    <a:latin typeface="Segoe UI Light" panose="020B0502040204020203" pitchFamily="34" charset="0"/>
                    <a:ea typeface="Arial Unicode MS" panose="020B0604020202020204" pitchFamily="34" charset="-128"/>
                    <a:cs typeface="Segoe UI Light" panose="020B0502040204020203" pitchFamily="34" charset="0"/>
                  </a:rPr>
                  <a:t>Host your domains in Azure and manage your DNS records within your existing subscription</a:t>
                </a:r>
              </a:p>
            </p:txBody>
          </p:sp>
        </p:grpSp>
        <p:pic>
          <p:nvPicPr>
            <p:cNvPr id="598" name="Picture 59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303315" y="5084864"/>
              <a:ext cx="210993" cy="210993"/>
            </a:xfrm>
            <a:prstGeom prst="rect">
              <a:avLst/>
            </a:prstGeom>
          </p:spPr>
        </p:pic>
      </p:grpSp>
      <p:sp>
        <p:nvSpPr>
          <p:cNvPr id="603" name="TextBox 602"/>
          <p:cNvSpPr txBox="1"/>
          <p:nvPr/>
        </p:nvSpPr>
        <p:spPr>
          <a:xfrm>
            <a:off x="62489" y="4118232"/>
            <a:ext cx="965915" cy="209726"/>
          </a:xfrm>
          <a:prstGeom prst="rect">
            <a:avLst/>
          </a:prstGeom>
          <a:noFill/>
          <a:ln>
            <a:noFill/>
          </a:ln>
        </p:spPr>
        <p:txBody>
          <a:bodyPr wrap="none" lIns="0" tIns="0" rIns="0" bIns="0" rtlCol="0">
            <a:noAutofit/>
          </a:bodyPr>
          <a:lstStyle/>
          <a:p>
            <a:pPr defTabSz="913950" eaLnBrk="0" fontAlgn="base" hangingPunct="0">
              <a:spcBef>
                <a:spcPct val="0"/>
              </a:spcBef>
              <a:spcAft>
                <a:spcPct val="0"/>
              </a:spcAft>
            </a:pPr>
            <a:r>
              <a:rPr lang="en-US" sz="700" dirty="0">
                <a:solidFill>
                  <a:srgbClr val="505050"/>
                </a:solidFill>
                <a:latin typeface="Segoe UI Semibold" panose="020B0702040204020203" pitchFamily="34" charset="0"/>
                <a:ea typeface="Arial Unicode MS" panose="020B0604020202020204" pitchFamily="34" charset="-128"/>
                <a:cs typeface="Segoe UI Semibold" panose="020B0702040204020203" pitchFamily="34" charset="0"/>
              </a:rPr>
              <a:t>ANNOUNCED AT BUILD AND IGNITE 2015</a:t>
            </a:r>
          </a:p>
          <a:p>
            <a:pPr defTabSz="913950" eaLnBrk="0" fontAlgn="base" hangingPunct="0">
              <a:spcBef>
                <a:spcPct val="0"/>
              </a:spcBef>
              <a:spcAft>
                <a:spcPct val="0"/>
              </a:spcAft>
            </a:pPr>
            <a:endParaRPr lang="en-US" sz="700" dirty="0">
              <a:solidFill>
                <a:srgbClr val="505050"/>
              </a:solidFill>
              <a:latin typeface="Segoe UI Semibold" panose="020B0702040204020203" pitchFamily="34" charset="0"/>
              <a:ea typeface="Arial Unicode MS" panose="020B0604020202020204" pitchFamily="34" charset="-128"/>
              <a:cs typeface="Segoe UI Semibold" panose="020B0702040204020203" pitchFamily="34" charset="0"/>
            </a:endParaRPr>
          </a:p>
        </p:txBody>
      </p:sp>
      <p:cxnSp>
        <p:nvCxnSpPr>
          <p:cNvPr id="604" name="Straight Connector 603"/>
          <p:cNvCxnSpPr/>
          <p:nvPr/>
        </p:nvCxnSpPr>
        <p:spPr>
          <a:xfrm>
            <a:off x="60688" y="4248893"/>
            <a:ext cx="300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80741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8252" y="411126"/>
            <a:ext cx="4576725" cy="2540082"/>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4160" y="3395329"/>
            <a:ext cx="4570817" cy="2285409"/>
          </a:xfrm>
          <a:prstGeom prst="rect">
            <a:avLst/>
          </a:prstGeom>
        </p:spPr>
      </p:pic>
      <p:sp>
        <p:nvSpPr>
          <p:cNvPr id="7" name="Rectangle 6"/>
          <p:cNvSpPr/>
          <p:nvPr/>
        </p:nvSpPr>
        <p:spPr>
          <a:xfrm>
            <a:off x="1594884" y="177209"/>
            <a:ext cx="567069" cy="575575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800" dirty="0" smtClean="0"/>
              <a:t>Better Together</a:t>
            </a:r>
            <a:endParaRPr lang="en-US" sz="2800" dirty="0"/>
          </a:p>
        </p:txBody>
      </p:sp>
      <p:sp>
        <p:nvSpPr>
          <p:cNvPr id="8" name="TextBox 7"/>
          <p:cNvSpPr txBox="1"/>
          <p:nvPr/>
        </p:nvSpPr>
        <p:spPr>
          <a:xfrm>
            <a:off x="6741042" y="411126"/>
            <a:ext cx="4288465" cy="4832092"/>
          </a:xfrm>
          <a:prstGeom prst="rect">
            <a:avLst/>
          </a:prstGeom>
          <a:noFill/>
        </p:spPr>
        <p:txBody>
          <a:bodyPr wrap="square" rtlCol="0">
            <a:spAutoFit/>
          </a:bodyPr>
          <a:lstStyle/>
          <a:p>
            <a:pPr marL="285750" indent="-285750">
              <a:buFont typeface="Arial" panose="020B0604020202020204" pitchFamily="34" charset="0"/>
              <a:buChar char="•"/>
            </a:pPr>
            <a:r>
              <a:rPr lang="en-US" sz="2800" dirty="0" smtClean="0"/>
              <a:t>Internet-only solution</a:t>
            </a:r>
            <a:br>
              <a:rPr lang="en-US" sz="2800" dirty="0" smtClean="0"/>
            </a:br>
            <a:endParaRPr lang="en-US" sz="2800" dirty="0" smtClean="0"/>
          </a:p>
          <a:p>
            <a:pPr marL="285750" indent="-285750">
              <a:buFont typeface="Arial" panose="020B0604020202020204" pitchFamily="34" charset="0"/>
              <a:buChar char="•"/>
            </a:pPr>
            <a:r>
              <a:rPr lang="en-US" sz="2800" dirty="0" smtClean="0"/>
              <a:t>Consistent authentication model</a:t>
            </a:r>
            <a:br>
              <a:rPr lang="en-US" sz="2800" dirty="0" smtClean="0"/>
            </a:br>
            <a:endParaRPr lang="en-US" sz="2800" dirty="0" smtClean="0"/>
          </a:p>
          <a:p>
            <a:pPr marL="285750" indent="-285750">
              <a:buFont typeface="Arial" panose="020B0604020202020204" pitchFamily="34" charset="0"/>
              <a:buChar char="•"/>
            </a:pPr>
            <a:r>
              <a:rPr lang="en-US" sz="2800" dirty="0" smtClean="0"/>
              <a:t>Single-vendor (easy to add to existing cloud strategy)</a:t>
            </a:r>
            <a:br>
              <a:rPr lang="en-US" sz="2800" dirty="0" smtClean="0"/>
            </a:br>
            <a:endParaRPr lang="en-US" sz="2800" dirty="0" smtClean="0"/>
          </a:p>
          <a:p>
            <a:pPr marL="285750" indent="-285750">
              <a:buFont typeface="Arial" panose="020B0604020202020204" pitchFamily="34" charset="0"/>
              <a:buChar char="•"/>
            </a:pPr>
            <a:r>
              <a:rPr lang="en-US" sz="2800" dirty="0" smtClean="0"/>
              <a:t>Take advantage of high-value platform services</a:t>
            </a:r>
            <a:endParaRPr lang="en-US" sz="2800" dirty="0"/>
          </a:p>
        </p:txBody>
      </p:sp>
    </p:spTree>
    <p:extLst>
      <p:ext uri="{BB962C8B-B14F-4D97-AF65-F5344CB8AC3E}">
        <p14:creationId xmlns:p14="http://schemas.microsoft.com/office/powerpoint/2010/main" val="3913919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s for Compute</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7598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0567" y="431990"/>
            <a:ext cx="9377912" cy="4939033"/>
          </a:xfrm>
          <a:prstGeom prst="rect">
            <a:avLst/>
          </a:prstGeom>
        </p:spPr>
      </p:pic>
      <p:sp>
        <p:nvSpPr>
          <p:cNvPr id="5" name="TextBox 4"/>
          <p:cNvSpPr txBox="1"/>
          <p:nvPr/>
        </p:nvSpPr>
        <p:spPr>
          <a:xfrm>
            <a:off x="6496982" y="600718"/>
            <a:ext cx="1835888" cy="369332"/>
          </a:xfrm>
          <a:prstGeom prst="rect">
            <a:avLst/>
          </a:prstGeom>
          <a:noFill/>
        </p:spPr>
        <p:txBody>
          <a:bodyPr wrap="square" rtlCol="0">
            <a:spAutoFit/>
          </a:bodyPr>
          <a:lstStyle/>
          <a:p>
            <a:r>
              <a:rPr lang="en-US" dirty="0" smtClean="0"/>
              <a:t>Azure</a:t>
            </a:r>
          </a:p>
        </p:txBody>
      </p:sp>
      <p:sp>
        <p:nvSpPr>
          <p:cNvPr id="6" name="Rounded Rectangle 5"/>
          <p:cNvSpPr/>
          <p:nvPr/>
        </p:nvSpPr>
        <p:spPr>
          <a:xfrm>
            <a:off x="2183214" y="1063263"/>
            <a:ext cx="6039293" cy="4557823"/>
          </a:xfrm>
          <a:prstGeom prst="roundRect">
            <a:avLst/>
          </a:prstGeom>
          <a:solidFill>
            <a:srgbClr val="9ACD4C">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2434847" y="1194398"/>
            <a:ext cx="1835888" cy="369332"/>
          </a:xfrm>
          <a:prstGeom prst="rect">
            <a:avLst/>
          </a:prstGeom>
          <a:noFill/>
        </p:spPr>
        <p:txBody>
          <a:bodyPr wrap="square" rtlCol="0">
            <a:spAutoFit/>
          </a:bodyPr>
          <a:lstStyle/>
          <a:p>
            <a:r>
              <a:rPr lang="en-US" dirty="0" smtClean="0"/>
              <a:t>Azure VNET</a:t>
            </a:r>
          </a:p>
        </p:txBody>
      </p:sp>
      <p:sp>
        <p:nvSpPr>
          <p:cNvPr id="8" name="Rounded Rectangle 7"/>
          <p:cNvSpPr/>
          <p:nvPr/>
        </p:nvSpPr>
        <p:spPr>
          <a:xfrm>
            <a:off x="6099539" y="1755538"/>
            <a:ext cx="1697665" cy="3620207"/>
          </a:xfrm>
          <a:prstGeom prst="roundRect">
            <a:avLst/>
          </a:prstGeom>
          <a:solidFill>
            <a:schemeClr val="accent2">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2503958" y="1755539"/>
            <a:ext cx="3237619" cy="3620207"/>
          </a:xfrm>
          <a:prstGeom prst="roundRect">
            <a:avLst/>
          </a:prstGeom>
          <a:solidFill>
            <a:schemeClr val="accent2">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690028" y="1876410"/>
            <a:ext cx="1835888" cy="369332"/>
          </a:xfrm>
          <a:prstGeom prst="rect">
            <a:avLst/>
          </a:prstGeom>
          <a:noFill/>
        </p:spPr>
        <p:txBody>
          <a:bodyPr wrap="square" rtlCol="0">
            <a:spAutoFit/>
          </a:bodyPr>
          <a:lstStyle/>
          <a:p>
            <a:r>
              <a:rPr lang="en-US" dirty="0" smtClean="0"/>
              <a:t>Internal Subnet</a:t>
            </a:r>
          </a:p>
        </p:txBody>
      </p:sp>
      <p:sp>
        <p:nvSpPr>
          <p:cNvPr id="12" name="TextBox 11"/>
          <p:cNvSpPr txBox="1"/>
          <p:nvPr/>
        </p:nvSpPr>
        <p:spPr>
          <a:xfrm>
            <a:off x="6198772" y="1870500"/>
            <a:ext cx="1835888" cy="369332"/>
          </a:xfrm>
          <a:prstGeom prst="rect">
            <a:avLst/>
          </a:prstGeom>
          <a:noFill/>
        </p:spPr>
        <p:txBody>
          <a:bodyPr wrap="square" rtlCol="0">
            <a:spAutoFit/>
          </a:bodyPr>
          <a:lstStyle/>
          <a:p>
            <a:r>
              <a:rPr lang="en-US" dirty="0" smtClean="0"/>
              <a:t>DMZ Subnet</a:t>
            </a:r>
          </a:p>
        </p:txBody>
      </p:sp>
      <p:sp>
        <p:nvSpPr>
          <p:cNvPr id="15" name="TextBox 14"/>
          <p:cNvSpPr txBox="1"/>
          <p:nvPr/>
        </p:nvSpPr>
        <p:spPr>
          <a:xfrm>
            <a:off x="6014711" y="4502459"/>
            <a:ext cx="1835888" cy="369332"/>
          </a:xfrm>
          <a:prstGeom prst="rect">
            <a:avLst/>
          </a:prstGeom>
          <a:noFill/>
        </p:spPr>
        <p:txBody>
          <a:bodyPr wrap="square" rtlCol="0">
            <a:spAutoFit/>
          </a:bodyPr>
          <a:lstStyle/>
          <a:p>
            <a:pPr algn="ctr"/>
            <a:r>
              <a:rPr lang="en-US" dirty="0" smtClean="0"/>
              <a:t>Web App Proxy</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8214" y="2476204"/>
            <a:ext cx="615942" cy="1187358"/>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7065" y="3261692"/>
            <a:ext cx="615942" cy="1187358"/>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2101" y="2476204"/>
            <a:ext cx="615942" cy="1187358"/>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1555" y="3261692"/>
            <a:ext cx="615942" cy="1187358"/>
          </a:xfrm>
          <a:prstGeom prst="rect">
            <a:avLst/>
          </a:prstGeom>
        </p:spPr>
      </p:pic>
      <p:sp>
        <p:nvSpPr>
          <p:cNvPr id="20" name="TextBox 19"/>
          <p:cNvSpPr txBox="1"/>
          <p:nvPr/>
        </p:nvSpPr>
        <p:spPr>
          <a:xfrm>
            <a:off x="2530492" y="4532884"/>
            <a:ext cx="1835888" cy="369332"/>
          </a:xfrm>
          <a:prstGeom prst="rect">
            <a:avLst/>
          </a:prstGeom>
          <a:noFill/>
        </p:spPr>
        <p:txBody>
          <a:bodyPr wrap="square" rtlCol="0">
            <a:spAutoFit/>
          </a:bodyPr>
          <a:lstStyle/>
          <a:p>
            <a:pPr algn="ctr"/>
            <a:r>
              <a:rPr lang="en-US" dirty="0" smtClean="0"/>
              <a:t>AD DS</a:t>
            </a:r>
          </a:p>
        </p:txBody>
      </p:sp>
      <p:sp>
        <p:nvSpPr>
          <p:cNvPr id="21" name="TextBox 20"/>
          <p:cNvSpPr txBox="1"/>
          <p:nvPr/>
        </p:nvSpPr>
        <p:spPr>
          <a:xfrm>
            <a:off x="3885305" y="4532884"/>
            <a:ext cx="1835888" cy="369332"/>
          </a:xfrm>
          <a:prstGeom prst="rect">
            <a:avLst/>
          </a:prstGeom>
          <a:noFill/>
        </p:spPr>
        <p:txBody>
          <a:bodyPr wrap="square" rtlCol="0">
            <a:spAutoFit/>
          </a:bodyPr>
          <a:lstStyle/>
          <a:p>
            <a:pPr algn="ctr"/>
            <a:r>
              <a:rPr lang="en-US" dirty="0" smtClean="0"/>
              <a:t>AD F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5473" y="2476204"/>
            <a:ext cx="615942" cy="1187358"/>
          </a:xfrm>
          <a:prstGeom prst="rect">
            <a:avLst/>
          </a:prstGeom>
        </p:spPr>
      </p:pic>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4927" y="3261692"/>
            <a:ext cx="615942" cy="1187358"/>
          </a:xfrm>
          <a:prstGeom prst="rect">
            <a:avLst/>
          </a:prstGeom>
        </p:spPr>
      </p:pic>
      <p:sp>
        <p:nvSpPr>
          <p:cNvPr id="25" name="Rounded Rectangle 24"/>
          <p:cNvSpPr/>
          <p:nvPr/>
        </p:nvSpPr>
        <p:spPr>
          <a:xfrm>
            <a:off x="389859" y="1063263"/>
            <a:ext cx="1520221" cy="4557823"/>
          </a:xfrm>
          <a:prstGeom prst="roundRect">
            <a:avLst/>
          </a:prstGeom>
          <a:solidFill>
            <a:srgbClr val="9ACD4C">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492636" y="1194398"/>
            <a:ext cx="1835888" cy="369332"/>
          </a:xfrm>
          <a:prstGeom prst="rect">
            <a:avLst/>
          </a:prstGeom>
          <a:noFill/>
        </p:spPr>
        <p:txBody>
          <a:bodyPr wrap="square" rtlCol="0">
            <a:spAutoFit/>
          </a:bodyPr>
          <a:lstStyle/>
          <a:p>
            <a:r>
              <a:rPr lang="en-US" dirty="0" smtClean="0"/>
              <a:t>Corp WAN</a:t>
            </a:r>
          </a:p>
        </p:txBody>
      </p:sp>
      <p:sp>
        <p:nvSpPr>
          <p:cNvPr id="27" name="Left-Right Arrow 26"/>
          <p:cNvSpPr/>
          <p:nvPr/>
        </p:nvSpPr>
        <p:spPr>
          <a:xfrm>
            <a:off x="808074" y="2239832"/>
            <a:ext cx="1626773" cy="921590"/>
          </a:xfrm>
          <a:prstGeom prst="lef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2S VPN</a:t>
            </a:r>
            <a:endParaRPr lang="en-US" dirty="0"/>
          </a:p>
        </p:txBody>
      </p:sp>
      <p:sp>
        <p:nvSpPr>
          <p:cNvPr id="28" name="Left-Right Arrow 27"/>
          <p:cNvSpPr/>
          <p:nvPr/>
        </p:nvSpPr>
        <p:spPr>
          <a:xfrm>
            <a:off x="808073" y="3527460"/>
            <a:ext cx="1626773" cy="921590"/>
          </a:xfrm>
          <a:prstGeom prst="lef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dirty="0" smtClean="0"/>
              <a:t>ExpressRoute</a:t>
            </a:r>
            <a:endParaRPr lang="en-US" sz="1400" dirty="0"/>
          </a:p>
        </p:txBody>
      </p:sp>
      <p:sp>
        <p:nvSpPr>
          <p:cNvPr id="29" name="Down Arrow 28"/>
          <p:cNvSpPr/>
          <p:nvPr/>
        </p:nvSpPr>
        <p:spPr>
          <a:xfrm>
            <a:off x="3707216" y="5061098"/>
            <a:ext cx="910419" cy="1516911"/>
          </a:xfrm>
          <a:prstGeom prst="downArrow">
            <a:avLst/>
          </a:prstGeom>
        </p:spPr>
        <p:style>
          <a:lnRef idx="1">
            <a:schemeClr val="accent3"/>
          </a:lnRef>
          <a:fillRef idx="2">
            <a:schemeClr val="accent3"/>
          </a:fillRef>
          <a:effectRef idx="1">
            <a:schemeClr val="accent3"/>
          </a:effectRef>
          <a:fontRef idx="minor">
            <a:schemeClr val="dk1"/>
          </a:fontRef>
        </p:style>
        <p:txBody>
          <a:bodyPr vert="vert270" rtlCol="0" anchor="ctr"/>
          <a:lstStyle/>
          <a:p>
            <a:pPr algn="ctr"/>
            <a:r>
              <a:rPr lang="en-US" dirty="0" smtClean="0"/>
              <a:t>Internet</a:t>
            </a:r>
            <a:endParaRPr lang="en-US" dirty="0"/>
          </a:p>
        </p:txBody>
      </p:sp>
      <p:sp>
        <p:nvSpPr>
          <p:cNvPr id="31" name="Up-Down Arrow 30"/>
          <p:cNvSpPr/>
          <p:nvPr/>
        </p:nvSpPr>
        <p:spPr>
          <a:xfrm>
            <a:off x="6584426" y="5061099"/>
            <a:ext cx="766217" cy="1516910"/>
          </a:xfrm>
          <a:prstGeom prst="upDownArrow">
            <a:avLst/>
          </a:prstGeom>
        </p:spPr>
        <p:style>
          <a:lnRef idx="1">
            <a:schemeClr val="accent3"/>
          </a:lnRef>
          <a:fillRef idx="2">
            <a:schemeClr val="accent3"/>
          </a:fillRef>
          <a:effectRef idx="1">
            <a:schemeClr val="accent3"/>
          </a:effectRef>
          <a:fontRef idx="minor">
            <a:schemeClr val="dk1"/>
          </a:fontRef>
        </p:style>
        <p:txBody>
          <a:bodyPr vert="vert270" rtlCol="0" anchor="ctr"/>
          <a:lstStyle/>
          <a:p>
            <a:pPr algn="ctr"/>
            <a:r>
              <a:rPr lang="en-US" dirty="0" smtClean="0"/>
              <a:t>Internet</a:t>
            </a:r>
            <a:endParaRPr lang="en-US" dirty="0"/>
          </a:p>
        </p:txBody>
      </p:sp>
      <p:sp>
        <p:nvSpPr>
          <p:cNvPr id="33" name="Left-Right Arrow 32"/>
          <p:cNvSpPr/>
          <p:nvPr/>
        </p:nvSpPr>
        <p:spPr>
          <a:xfrm>
            <a:off x="5216008" y="2378447"/>
            <a:ext cx="1269990" cy="679692"/>
          </a:xfrm>
          <a:prstGeom prst="lef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Explicit</a:t>
            </a:r>
            <a:endParaRPr lang="en-US" dirty="0"/>
          </a:p>
        </p:txBody>
      </p:sp>
      <p:sp>
        <p:nvSpPr>
          <p:cNvPr id="34" name="Rounded Rectangle 33"/>
          <p:cNvSpPr/>
          <p:nvPr/>
        </p:nvSpPr>
        <p:spPr>
          <a:xfrm>
            <a:off x="8580469" y="1063263"/>
            <a:ext cx="3252897" cy="4557823"/>
          </a:xfrm>
          <a:prstGeom prst="roundRect">
            <a:avLst/>
          </a:prstGeom>
          <a:solidFill>
            <a:srgbClr val="9ACD4C">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8771819" y="1194398"/>
            <a:ext cx="2576659" cy="369332"/>
          </a:xfrm>
          <a:prstGeom prst="rect">
            <a:avLst/>
          </a:prstGeom>
          <a:noFill/>
        </p:spPr>
        <p:txBody>
          <a:bodyPr wrap="square" rtlCol="0">
            <a:spAutoFit/>
          </a:bodyPr>
          <a:lstStyle/>
          <a:p>
            <a:r>
              <a:rPr lang="en-US" dirty="0" smtClean="0"/>
              <a:t>Azure Platform Services</a:t>
            </a:r>
          </a:p>
        </p:txBody>
      </p:sp>
      <p:pic>
        <p:nvPicPr>
          <p:cNvPr id="36" name="Picture 35"/>
          <p:cNvPicPr>
            <a:picLocks noChangeAspect="1"/>
          </p:cNvPicPr>
          <p:nvPr/>
        </p:nvPicPr>
        <p:blipFill rotWithShape="1">
          <a:blip r:embed="rId4">
            <a:extLst>
              <a:ext uri="{28A0092B-C50C-407E-A947-70E740481C1C}">
                <a14:useLocalDpi xmlns:a14="http://schemas.microsoft.com/office/drawing/2010/main" val="0"/>
              </a:ext>
            </a:extLst>
          </a:blip>
          <a:srcRect b="21424"/>
          <a:stretch/>
        </p:blipFill>
        <p:spPr>
          <a:xfrm>
            <a:off x="9159167" y="1760986"/>
            <a:ext cx="2095500" cy="1234921"/>
          </a:xfrm>
          <a:prstGeom prst="rect">
            <a:avLst/>
          </a:prstGeom>
        </p:spPr>
      </p:pic>
      <p:pic>
        <p:nvPicPr>
          <p:cNvPr id="37" name="Picture 3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8200" y="3193163"/>
            <a:ext cx="2476846" cy="895475"/>
          </a:xfrm>
          <a:prstGeom prst="rect">
            <a:avLst/>
          </a:prstGeom>
        </p:spPr>
      </p:pic>
      <p:pic>
        <p:nvPicPr>
          <p:cNvPr id="38" name="Picture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63979" y="4253580"/>
            <a:ext cx="952500" cy="952500"/>
          </a:xfrm>
          <a:prstGeom prst="rect">
            <a:avLst/>
          </a:prstGeom>
        </p:spPr>
      </p:pic>
      <p:pic>
        <p:nvPicPr>
          <p:cNvPr id="39" name="Picture 3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74377" y="4324307"/>
            <a:ext cx="780290" cy="780290"/>
          </a:xfrm>
          <a:prstGeom prst="rect">
            <a:avLst/>
          </a:prstGeom>
        </p:spPr>
      </p:pic>
    </p:spTree>
    <p:extLst>
      <p:ext uri="{BB962C8B-B14F-4D97-AF65-F5344CB8AC3E}">
        <p14:creationId xmlns:p14="http://schemas.microsoft.com/office/powerpoint/2010/main" val="4099453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2312813296"/>
              </p:ext>
            </p:extLst>
          </p:nvPr>
        </p:nvGraphicFramePr>
        <p:xfrm>
          <a:off x="642749" y="963832"/>
          <a:ext cx="10906500" cy="60508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Left-Right Arrow 2"/>
          <p:cNvSpPr/>
          <p:nvPr/>
        </p:nvSpPr>
        <p:spPr bwMode="auto">
          <a:xfrm>
            <a:off x="717451" y="2532575"/>
            <a:ext cx="10682396" cy="597617"/>
          </a:xfrm>
          <a:prstGeom prst="leftRightArrow">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extBox 3"/>
          <p:cNvSpPr txBox="1"/>
          <p:nvPr/>
        </p:nvSpPr>
        <p:spPr>
          <a:xfrm>
            <a:off x="941557" y="2550778"/>
            <a:ext cx="4407422" cy="561211"/>
          </a:xfrm>
          <a:prstGeom prst="rect">
            <a:avLst/>
          </a:prstGeom>
          <a:noFill/>
        </p:spPr>
        <p:txBody>
          <a:bodyPr wrap="square" lIns="179285" tIns="143428" rIns="179285" bIns="143428" rtlCol="0">
            <a:spAutoFit/>
          </a:bodyPr>
          <a:lstStyle/>
          <a:p>
            <a:pPr>
              <a:lnSpc>
                <a:spcPct val="90000"/>
              </a:lnSpc>
              <a:spcAft>
                <a:spcPts val="588"/>
              </a:spcAft>
            </a:pPr>
            <a:r>
              <a:rPr lang="en-US" sz="1961" dirty="0" smtClean="0">
                <a:gradFill>
                  <a:gsLst>
                    <a:gs pos="2917">
                      <a:schemeClr val="tx1"/>
                    </a:gs>
                    <a:gs pos="30000">
                      <a:schemeClr val="tx1"/>
                    </a:gs>
                  </a:gsLst>
                  <a:lin ang="5400000" scaled="0"/>
                </a:gradFill>
                <a:latin typeface="+mj-lt"/>
              </a:rPr>
              <a:t>greater </a:t>
            </a:r>
            <a:r>
              <a:rPr lang="en-US" sz="1961" dirty="0">
                <a:gradFill>
                  <a:gsLst>
                    <a:gs pos="2917">
                      <a:schemeClr val="tx1"/>
                    </a:gs>
                    <a:gs pos="30000">
                      <a:schemeClr val="tx1"/>
                    </a:gs>
                  </a:gsLst>
                  <a:lin ang="5400000" scaled="0"/>
                </a:gradFill>
                <a:latin typeface="+mj-lt"/>
              </a:rPr>
              <a:t>control / higher cost</a:t>
            </a:r>
          </a:p>
        </p:txBody>
      </p:sp>
      <p:sp>
        <p:nvSpPr>
          <p:cNvPr id="5" name="TextBox 4"/>
          <p:cNvSpPr txBox="1"/>
          <p:nvPr/>
        </p:nvSpPr>
        <p:spPr>
          <a:xfrm>
            <a:off x="8038254" y="2550778"/>
            <a:ext cx="3660401" cy="561211"/>
          </a:xfrm>
          <a:prstGeom prst="rect">
            <a:avLst/>
          </a:prstGeom>
          <a:noFill/>
        </p:spPr>
        <p:txBody>
          <a:bodyPr wrap="square" lIns="179285" tIns="143428" rIns="179285" bIns="143428" rtlCol="0">
            <a:spAutoFit/>
          </a:bodyPr>
          <a:lstStyle/>
          <a:p>
            <a:pPr>
              <a:lnSpc>
                <a:spcPct val="90000"/>
              </a:lnSpc>
              <a:spcAft>
                <a:spcPts val="588"/>
              </a:spcAft>
            </a:pPr>
            <a:r>
              <a:rPr lang="en-US" sz="1961" dirty="0">
                <a:gradFill>
                  <a:gsLst>
                    <a:gs pos="2917">
                      <a:schemeClr val="tx1"/>
                    </a:gs>
                    <a:gs pos="30000">
                      <a:schemeClr val="tx1"/>
                    </a:gs>
                  </a:gsLst>
                  <a:lin ang="5400000" scaled="0"/>
                </a:gradFill>
                <a:latin typeface="+mj-lt"/>
              </a:rPr>
              <a:t>lower cost / greater value</a:t>
            </a:r>
          </a:p>
        </p:txBody>
      </p:sp>
    </p:spTree>
    <p:extLst>
      <p:ext uri="{BB962C8B-B14F-4D97-AF65-F5344CB8AC3E}">
        <p14:creationId xmlns:p14="http://schemas.microsoft.com/office/powerpoint/2010/main" val="275386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10.xml><?xml version="1.0" encoding="utf-8"?>
<a:theme xmlns:a="http://schemas.openxmlformats.org/drawingml/2006/main" name="8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11.xml><?xml version="1.0" encoding="utf-8"?>
<a:theme xmlns:a="http://schemas.openxmlformats.org/drawingml/2006/main" name="9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3.xml><?xml version="1.0" encoding="utf-8"?>
<a:theme xmlns:a="http://schemas.openxmlformats.org/drawingml/2006/main" name="1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4.xml><?xml version="1.0" encoding="utf-8"?>
<a:theme xmlns:a="http://schemas.openxmlformats.org/drawingml/2006/main" name="2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5.xml><?xml version="1.0" encoding="utf-8"?>
<a:theme xmlns:a="http://schemas.openxmlformats.org/drawingml/2006/main" name="3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6.xml><?xml version="1.0" encoding="utf-8"?>
<a:theme xmlns:a="http://schemas.openxmlformats.org/drawingml/2006/main" name="4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7.xml><?xml version="1.0" encoding="utf-8"?>
<a:theme xmlns:a="http://schemas.openxmlformats.org/drawingml/2006/main" name="5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8.xml><?xml version="1.0" encoding="utf-8"?>
<a:theme xmlns:a="http://schemas.openxmlformats.org/drawingml/2006/main" name="6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ppt/theme/theme9.xml><?xml version="1.0" encoding="utf-8"?>
<a:theme xmlns:a="http://schemas.openxmlformats.org/drawingml/2006/main" name="7_WHITE TEMPLATE">
  <a:themeElements>
    <a:clrScheme name="MSVID White and Green">
      <a:dk1>
        <a:srgbClr val="505050"/>
      </a:dk1>
      <a:lt1>
        <a:srgbClr val="FFFFFF"/>
      </a:lt1>
      <a:dk2>
        <a:srgbClr val="107C10"/>
      </a:dk2>
      <a:lt2>
        <a:srgbClr val="D5F7F6"/>
      </a:lt2>
      <a:accent1>
        <a:srgbClr val="107C10"/>
      </a:accent1>
      <a:accent2>
        <a:srgbClr val="5C2D91"/>
      </a:accent2>
      <a:accent3>
        <a:srgbClr val="0078D7"/>
      </a:accent3>
      <a:accent4>
        <a:srgbClr val="B4009E"/>
      </a:accent4>
      <a:accent5>
        <a:srgbClr val="002050"/>
      </a:accent5>
      <a:accent6>
        <a:srgbClr val="D83B01"/>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GREEN_1" id="{B003B6B6-9531-405E-9DDC-EA17E5DF0F65}" vid="{EE8F4AF4-AE18-4319-AEF0-85A61318D1CE}"/>
    </a:ext>
  </a:extLst>
</a:theme>
</file>

<file path=docProps/app.xml><?xml version="1.0" encoding="utf-8"?>
<Properties xmlns="http://schemas.openxmlformats.org/officeDocument/2006/extended-properties" xmlns:vt="http://schemas.openxmlformats.org/officeDocument/2006/docPropsVTypes">
  <Template>Circuit</Template>
  <TotalTime>8461</TotalTime>
  <Words>2696</Words>
  <Application>Microsoft Office PowerPoint</Application>
  <PresentationFormat>Widescreen</PresentationFormat>
  <Paragraphs>613</Paragraphs>
  <Slides>39</Slides>
  <Notes>14</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39</vt:i4>
      </vt:variant>
    </vt:vector>
  </HeadingPairs>
  <TitlesOfParts>
    <vt:vector size="61" baseType="lpstr">
      <vt:lpstr>Arial Unicode MS</vt:lpstr>
      <vt:lpstr>Arial</vt:lpstr>
      <vt:lpstr>Calibri</vt:lpstr>
      <vt:lpstr>Consolas</vt:lpstr>
      <vt:lpstr>Segoe UI</vt:lpstr>
      <vt:lpstr>Segoe UI Light</vt:lpstr>
      <vt:lpstr>Segoe UI Semibold</vt:lpstr>
      <vt:lpstr>Trebuchet MS</vt:lpstr>
      <vt:lpstr>Tw Cen MT</vt:lpstr>
      <vt:lpstr>Wingdings</vt:lpstr>
      <vt:lpstr>Circuit</vt:lpstr>
      <vt:lpstr>WHITE TEMPLATE</vt:lpstr>
      <vt:lpstr>1_WHITE TEMPLATE</vt:lpstr>
      <vt:lpstr>2_WHITE TEMPLATE</vt:lpstr>
      <vt:lpstr>3_WHITE TEMPLATE</vt:lpstr>
      <vt:lpstr>4_WHITE TEMPLATE</vt:lpstr>
      <vt:lpstr>5_WHITE TEMPLATE</vt:lpstr>
      <vt:lpstr>6_WHITE TEMPLATE</vt:lpstr>
      <vt:lpstr>7_WHITE TEMPLATE</vt:lpstr>
      <vt:lpstr>8_WHITE TEMPLATE</vt:lpstr>
      <vt:lpstr>9_WHITE TEMPLATE</vt:lpstr>
      <vt:lpstr>think-cell Slide</vt:lpstr>
      <vt:lpstr>Developing custom solutions for SharePoint Online in Azure</vt:lpstr>
      <vt:lpstr>Peter Lasne</vt:lpstr>
      <vt:lpstr>What is Azure AND why do I want to use it for SharePoint Development?</vt:lpstr>
      <vt:lpstr>PowerPoint Presentation</vt:lpstr>
      <vt:lpstr>Azure services</vt:lpstr>
      <vt:lpstr>PowerPoint Presentation</vt:lpstr>
      <vt:lpstr>Options for Compute</vt:lpstr>
      <vt:lpstr>PowerPoint Presentation</vt:lpstr>
      <vt:lpstr>PowerPoint Presentation</vt:lpstr>
      <vt:lpstr>App Service Plan</vt:lpstr>
      <vt:lpstr>PowerPoint Presentation</vt:lpstr>
      <vt:lpstr>Intelligent customer routing with Traffic Manager</vt:lpstr>
      <vt:lpstr>PowerPoint Presentation</vt:lpstr>
      <vt:lpstr>PowerPoint Presentation</vt:lpstr>
      <vt:lpstr>PowerPoint Presentation</vt:lpstr>
      <vt:lpstr>PowerPoint Presentation</vt:lpstr>
      <vt:lpstr>PowerPoint Presentation</vt:lpstr>
      <vt:lpstr>In-depth app monitoring</vt:lpstr>
      <vt:lpstr>Continuous Integration cycle </vt:lpstr>
      <vt:lpstr>Azure Service Fabric A platform for reliable, hyperscale, microservice-based applications</vt:lpstr>
      <vt:lpstr>Battle-hardened for over 5 years</vt:lpstr>
      <vt:lpstr>Orchestration of microservices during failure</vt:lpstr>
      <vt:lpstr>Cloud Service</vt:lpstr>
      <vt:lpstr>Options for Storage</vt:lpstr>
      <vt:lpstr>Blob Storage</vt:lpstr>
      <vt:lpstr>Table Storage</vt:lpstr>
      <vt:lpstr> Queues</vt:lpstr>
      <vt:lpstr>Windows Azure SQL Database</vt:lpstr>
      <vt:lpstr>SQL service tiers </vt:lpstr>
      <vt:lpstr>Azure DocumentDB</vt:lpstr>
      <vt:lpstr>Considerations</vt:lpstr>
      <vt:lpstr>SharePoint Apps</vt:lpstr>
      <vt:lpstr>PowerPoint Presentation</vt:lpstr>
      <vt:lpstr>Custom LOOK-and-feel</vt:lpstr>
      <vt:lpstr>Interface with SharePoint-Only Data</vt:lpstr>
      <vt:lpstr>Multi-Tiered Application</vt:lpstr>
      <vt:lpstr>Scheduled Tasks</vt:lpstr>
      <vt:lpstr>Landing Page</vt:lpstr>
      <vt:lpstr>Custom Event Recei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custom solutions for SharePoint Online in Azure</dc:title>
  <dc:creator>Peter Lasne</dc:creator>
  <cp:lastModifiedBy>Peter Lasne</cp:lastModifiedBy>
  <cp:revision>28</cp:revision>
  <dcterms:created xsi:type="dcterms:W3CDTF">2015-09-06T13:54:33Z</dcterms:created>
  <dcterms:modified xsi:type="dcterms:W3CDTF">2015-10-12T21:31:18Z</dcterms:modified>
</cp:coreProperties>
</file>